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Override1.xml" ContentType="application/vnd.openxmlformats-officedocument.themeOverrid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heme/themeOverride2.xml" ContentType="application/vnd.openxmlformats-officedocument.themeOverride+xml"/>
  <Override PartName="/ppt/tags/tag3.xml" ContentType="application/vnd.openxmlformats-officedocument.presentationml.tags+xml"/>
  <Override PartName="/ppt/tags/tag4.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664" r:id="rId1"/>
    <p:sldMasterId id="2147483672" r:id="rId2"/>
  </p:sldMasterIdLst>
  <p:notesMasterIdLst>
    <p:notesMasterId r:id="rId9"/>
  </p:notesMasterIdLst>
  <p:handoutMasterIdLst>
    <p:handoutMasterId r:id="rId10"/>
  </p:handoutMasterIdLst>
  <p:sldIdLst>
    <p:sldId id="256" r:id="rId3"/>
    <p:sldId id="384" r:id="rId4"/>
    <p:sldId id="383" r:id="rId5"/>
    <p:sldId id="385" r:id="rId6"/>
    <p:sldId id="382" r:id="rId7"/>
    <p:sldId id="261" r:id="rId8"/>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EECF4"/>
    <a:srgbClr val="7EAB7B"/>
    <a:srgbClr val="FDE0EC"/>
    <a:srgbClr val="D5A1CC"/>
    <a:srgbClr val="B58AAE"/>
    <a:srgbClr val="8BC8F5"/>
    <a:srgbClr val="8C603D"/>
    <a:srgbClr val="2346AE"/>
    <a:srgbClr val="FF9900"/>
    <a:srgbClr val="2F282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113A9D2-9D6B-4929-AA2D-F23B5EE8CBE7}" styleName="主题样式 2 - 强调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06799F8-075E-4A3A-A7F6-7FBC6576F1A4}" styleName="主题样式 2 - 强调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27F97BB-C833-4FB7-BDE5-3F7075034690}" styleName="主题样式 2 - 强调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E269D01E-BC32-4049-B463-5C60D7B0CCD2}" styleName="主题样式 2 - 强调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38B1855-1B75-4FBE-930C-398BA8C253C6}" styleName="主题样式 2 - 强调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D5ABB26-0587-4C30-8999-92F81FD0307C}" styleName="无样式，无网格">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8D230F3-CF80-4859-8CE7-A43EE81993B5}" styleName="浅色样式 1 - 强调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C083E6E3-FA7D-4D7B-A595-EF9225AFEA82}" styleName="浅色样式 1 - 强调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3B4B98B0-60AC-42C2-AFA5-B58CD77FA1E5}" styleName="浅色样式 1 - 强调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C89EF96-8CEA-46FF-86C4-4CE0E7609802}" styleName="浅色样式 3 - 强调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9012ECD-51FC-41F1-AA8D-1B2483CD663E}" styleName="浅色样式 2 - 强调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中度样式 1 - 强调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93296810-A885-4BE3-A3E7-6D5BEEA58F35}" styleName="中度样式 2 - 强调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792"/>
    <p:restoredTop sz="91680"/>
  </p:normalViewPr>
  <p:slideViewPr>
    <p:cSldViewPr snapToGrid="0">
      <p:cViewPr varScale="1">
        <p:scale>
          <a:sx n="204" d="100"/>
          <a:sy n="204" d="100"/>
        </p:scale>
        <p:origin x="432" y="20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viewProps" Target="view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presProps" Target="presProps.xml"/><Relationship Id="rId5" Type="http://schemas.openxmlformats.org/officeDocument/2006/relationships/slide" Target="slides/slide3.xml"/><Relationship Id="rId15" Type="http://schemas.microsoft.com/office/2016/11/relationships/changesInfo" Target="changesInfos/changesInfo1.xml"/><Relationship Id="rId10" Type="http://schemas.openxmlformats.org/officeDocument/2006/relationships/handoutMaster" Target="handoutMasters/handoutMaster1.xml"/><Relationship Id="rId4" Type="http://schemas.openxmlformats.org/officeDocument/2006/relationships/slide" Target="slides/slide2.xml"/><Relationship Id="rId9" Type="http://schemas.openxmlformats.org/officeDocument/2006/relationships/notesMaster" Target="notesMasters/notesMaster1.xml"/><Relationship Id="rId14"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i  Yangshihao" userId="S::s302568@studenti.polito.it::ee48da2e-17a2-4953-b1e7-564eeca1e514" providerId="AD" clId="Web-{6F170168-D17B-47F8-88C8-5F5A4D5496A3}"/>
    <pc:docChg chg="modSld">
      <pc:chgData name="Li  Yangshihao" userId="S::s302568@studenti.polito.it::ee48da2e-17a2-4953-b1e7-564eeca1e514" providerId="AD" clId="Web-{6F170168-D17B-47F8-88C8-5F5A4D5496A3}" dt="2023-05-16T19:30:06.339" v="3" actId="1076"/>
      <pc:docMkLst>
        <pc:docMk/>
      </pc:docMkLst>
      <pc:sldChg chg="addSp delSp modSp">
        <pc:chgData name="Li  Yangshihao" userId="S::s302568@studenti.polito.it::ee48da2e-17a2-4953-b1e7-564eeca1e514" providerId="AD" clId="Web-{6F170168-D17B-47F8-88C8-5F5A4D5496A3}" dt="2023-05-16T19:30:06.339" v="3" actId="1076"/>
        <pc:sldMkLst>
          <pc:docMk/>
          <pc:sldMk cId="126589775" sldId="345"/>
        </pc:sldMkLst>
        <pc:picChg chg="del">
          <ac:chgData name="Li  Yangshihao" userId="S::s302568@studenti.polito.it::ee48da2e-17a2-4953-b1e7-564eeca1e514" providerId="AD" clId="Web-{6F170168-D17B-47F8-88C8-5F5A4D5496A3}" dt="2023-05-16T19:29:58.666" v="2"/>
          <ac:picMkLst>
            <pc:docMk/>
            <pc:sldMk cId="126589775" sldId="345"/>
            <ac:picMk id="5" creationId="{AC7385EA-A399-A8EF-8F9C-776877C82F95}"/>
          </ac:picMkLst>
        </pc:picChg>
        <pc:picChg chg="add mod">
          <ac:chgData name="Li  Yangshihao" userId="S::s302568@studenti.polito.it::ee48da2e-17a2-4953-b1e7-564eeca1e514" providerId="AD" clId="Web-{6F170168-D17B-47F8-88C8-5F5A4D5496A3}" dt="2023-05-16T19:30:06.339" v="3" actId="1076"/>
          <ac:picMkLst>
            <pc:docMk/>
            <pc:sldMk cId="126589775" sldId="345"/>
            <ac:picMk id="8" creationId="{F771F80B-1522-AA95-496F-888151B1D2AD}"/>
          </ac:picMkLst>
        </pc:picChg>
      </pc:sldChg>
      <pc:sldChg chg="modSp">
        <pc:chgData name="Li  Yangshihao" userId="S::s302568@studenti.polito.it::ee48da2e-17a2-4953-b1e7-564eeca1e514" providerId="AD" clId="Web-{6F170168-D17B-47F8-88C8-5F5A4D5496A3}" dt="2023-05-16T19:07:41.053" v="0" actId="1076"/>
        <pc:sldMkLst>
          <pc:docMk/>
          <pc:sldMk cId="2954245266" sldId="355"/>
        </pc:sldMkLst>
        <pc:graphicFrameChg chg="mod">
          <ac:chgData name="Li  Yangshihao" userId="S::s302568@studenti.polito.it::ee48da2e-17a2-4953-b1e7-564eeca1e514" providerId="AD" clId="Web-{6F170168-D17B-47F8-88C8-5F5A4D5496A3}" dt="2023-05-16T19:07:41.053" v="0" actId="1076"/>
          <ac:graphicFrameMkLst>
            <pc:docMk/>
            <pc:sldMk cId="2954245266" sldId="355"/>
            <ac:graphicFrameMk id="7" creationId="{7D8A467F-B93F-3591-D4D3-C24F8692036A}"/>
          </ac:graphicFrameMkLst>
        </pc:graphicFrameChg>
      </pc:sldChg>
    </pc:docChg>
  </pc:docChgLst>
  <pc:docChgLst>
    <pc:chgData name="Li  Yangshihao" userId="S::s302568@studenti.polito.it::ee48da2e-17a2-4953-b1e7-564eeca1e514" providerId="AD" clId="Web-{FB7625DC-A828-4DF8-9E69-EB1244DBDBD6}"/>
    <pc:docChg chg="addSld">
      <pc:chgData name="Li  Yangshihao" userId="S::s302568@studenti.polito.it::ee48da2e-17a2-4953-b1e7-564eeca1e514" providerId="AD" clId="Web-{FB7625DC-A828-4DF8-9E69-EB1244DBDBD6}" dt="2023-05-16T22:31:20.571" v="0"/>
      <pc:docMkLst>
        <pc:docMk/>
      </pc:docMkLst>
      <pc:sldChg chg="add replId">
        <pc:chgData name="Li  Yangshihao" userId="S::s302568@studenti.polito.it::ee48da2e-17a2-4953-b1e7-564eeca1e514" providerId="AD" clId="Web-{FB7625DC-A828-4DF8-9E69-EB1244DBDBD6}" dt="2023-05-16T22:31:20.571" v="0"/>
        <pc:sldMkLst>
          <pc:docMk/>
          <pc:sldMk cId="3747817912" sldId="362"/>
        </pc:sldMkLst>
      </pc:sldChg>
    </pc:docChg>
  </pc:docChgLst>
  <pc:docChgLst>
    <pc:chgData name="YIN JUN" userId="S::s296134@studenti.polito.it::40f53ba7-6859-4e15-b6a0-4f636ac10741" providerId="AD" clId="Web-{A01E1E9E-E8E8-4D78-88A0-3D86D1AF7008}"/>
    <pc:docChg chg="modSld">
      <pc:chgData name="YIN JUN" userId="S::s296134@studenti.polito.it::40f53ba7-6859-4e15-b6a0-4f636ac10741" providerId="AD" clId="Web-{A01E1E9E-E8E8-4D78-88A0-3D86D1AF7008}" dt="2023-05-16T22:20:20.952" v="2"/>
      <pc:docMkLst>
        <pc:docMk/>
      </pc:docMkLst>
      <pc:sldChg chg="modSp">
        <pc:chgData name="YIN JUN" userId="S::s296134@studenti.polito.it::40f53ba7-6859-4e15-b6a0-4f636ac10741" providerId="AD" clId="Web-{A01E1E9E-E8E8-4D78-88A0-3D86D1AF7008}" dt="2023-05-16T22:20:20.952" v="2"/>
        <pc:sldMkLst>
          <pc:docMk/>
          <pc:sldMk cId="2954245266" sldId="355"/>
        </pc:sldMkLst>
        <pc:graphicFrameChg chg="mod modGraphic">
          <ac:chgData name="YIN JUN" userId="S::s296134@studenti.polito.it::40f53ba7-6859-4e15-b6a0-4f636ac10741" providerId="AD" clId="Web-{A01E1E9E-E8E8-4D78-88A0-3D86D1AF7008}" dt="2023-05-16T22:20:20.952" v="2"/>
          <ac:graphicFrameMkLst>
            <pc:docMk/>
            <pc:sldMk cId="2954245266" sldId="355"/>
            <ac:graphicFrameMk id="7" creationId="{7D8A467F-B93F-3591-D4D3-C24F8692036A}"/>
          </ac:graphicFrameMkLst>
        </pc:graphicFrameChg>
      </pc:sldChg>
    </pc:docChg>
  </pc:docChgLst>
  <pc:docChgLst>
    <pc:chgData name="CHEN JINGSI" userId="2c6a6994-749a-46da-a9cf-6c6b6bb4c573" providerId="ADAL" clId="{AF9FF4B5-C0CB-AE41-A71D-39792613AE17}"/>
    <pc:docChg chg="undo custSel addSld delSld modSld">
      <pc:chgData name="CHEN JINGSI" userId="2c6a6994-749a-46da-a9cf-6c6b6bb4c573" providerId="ADAL" clId="{AF9FF4B5-C0CB-AE41-A71D-39792613AE17}" dt="2023-05-08T19:48:32.366" v="1190" actId="20577"/>
      <pc:docMkLst>
        <pc:docMk/>
      </pc:docMkLst>
      <pc:sldChg chg="modSp mod">
        <pc:chgData name="CHEN JINGSI" userId="2c6a6994-749a-46da-a9cf-6c6b6bb4c573" providerId="ADAL" clId="{AF9FF4B5-C0CB-AE41-A71D-39792613AE17}" dt="2023-05-08T17:25:53.091" v="270" actId="1076"/>
        <pc:sldMkLst>
          <pc:docMk/>
          <pc:sldMk cId="0" sldId="256"/>
        </pc:sldMkLst>
        <pc:spChg chg="mod">
          <ac:chgData name="CHEN JINGSI" userId="2c6a6994-749a-46da-a9cf-6c6b6bb4c573" providerId="ADAL" clId="{AF9FF4B5-C0CB-AE41-A71D-39792613AE17}" dt="2023-05-08T17:25:53.091" v="270" actId="1076"/>
          <ac:spMkLst>
            <pc:docMk/>
            <pc:sldMk cId="0" sldId="256"/>
            <ac:spMk id="5" creationId="{4C51D62C-5F52-EF1C-138B-041679BB5F94}"/>
          </ac:spMkLst>
        </pc:spChg>
      </pc:sldChg>
      <pc:sldChg chg="del">
        <pc:chgData name="CHEN JINGSI" userId="2c6a6994-749a-46da-a9cf-6c6b6bb4c573" providerId="ADAL" clId="{AF9FF4B5-C0CB-AE41-A71D-39792613AE17}" dt="2023-05-08T17:03:54.222" v="179" actId="2696"/>
        <pc:sldMkLst>
          <pc:docMk/>
          <pc:sldMk cId="1200446017" sldId="326"/>
        </pc:sldMkLst>
      </pc:sldChg>
      <pc:sldChg chg="addSp delSp modSp mod modNotesTx">
        <pc:chgData name="CHEN JINGSI" userId="2c6a6994-749a-46da-a9cf-6c6b6bb4c573" providerId="ADAL" clId="{AF9FF4B5-C0CB-AE41-A71D-39792613AE17}" dt="2023-05-08T17:28:59.718" v="346" actId="1076"/>
        <pc:sldMkLst>
          <pc:docMk/>
          <pc:sldMk cId="2122089933" sldId="332"/>
        </pc:sldMkLst>
        <pc:spChg chg="del mod">
          <ac:chgData name="CHEN JINGSI" userId="2c6a6994-749a-46da-a9cf-6c6b6bb4c573" providerId="ADAL" clId="{AF9FF4B5-C0CB-AE41-A71D-39792613AE17}" dt="2023-05-08T17:20:05.553" v="206" actId="478"/>
          <ac:spMkLst>
            <pc:docMk/>
            <pc:sldMk cId="2122089933" sldId="332"/>
            <ac:spMk id="5" creationId="{8BEB727A-1B3E-04F8-0D01-D825C864827B}"/>
          </ac:spMkLst>
        </pc:spChg>
        <pc:spChg chg="mod">
          <ac:chgData name="CHEN JINGSI" userId="2c6a6994-749a-46da-a9cf-6c6b6bb4c573" providerId="ADAL" clId="{AF9FF4B5-C0CB-AE41-A71D-39792613AE17}" dt="2023-05-08T17:28:59.718" v="346" actId="1076"/>
          <ac:spMkLst>
            <pc:docMk/>
            <pc:sldMk cId="2122089933" sldId="332"/>
            <ac:spMk id="11" creationId="{6F1FE2F3-EE9B-F60F-16D3-3D5FDF31797D}"/>
          </ac:spMkLst>
        </pc:spChg>
        <pc:spChg chg="mod">
          <ac:chgData name="CHEN JINGSI" userId="2c6a6994-749a-46da-a9cf-6c6b6bb4c573" providerId="ADAL" clId="{AF9FF4B5-C0CB-AE41-A71D-39792613AE17}" dt="2023-05-08T16:59:30.284" v="118" actId="1076"/>
          <ac:spMkLst>
            <pc:docMk/>
            <pc:sldMk cId="2122089933" sldId="332"/>
            <ac:spMk id="12" creationId="{467F7760-C22B-8DEE-CBFC-B03A417304B0}"/>
          </ac:spMkLst>
        </pc:spChg>
        <pc:spChg chg="mod">
          <ac:chgData name="CHEN JINGSI" userId="2c6a6994-749a-46da-a9cf-6c6b6bb4c573" providerId="ADAL" clId="{AF9FF4B5-C0CB-AE41-A71D-39792613AE17}" dt="2023-05-08T16:59:33.785" v="119" actId="1076"/>
          <ac:spMkLst>
            <pc:docMk/>
            <pc:sldMk cId="2122089933" sldId="332"/>
            <ac:spMk id="13" creationId="{D2A65E2D-0472-17DC-3F5A-DCC372BA2487}"/>
          </ac:spMkLst>
        </pc:spChg>
        <pc:spChg chg="mod">
          <ac:chgData name="CHEN JINGSI" userId="2c6a6994-749a-46da-a9cf-6c6b6bb4c573" providerId="ADAL" clId="{AF9FF4B5-C0CB-AE41-A71D-39792613AE17}" dt="2023-05-08T16:58:35.259" v="108" actId="20577"/>
          <ac:spMkLst>
            <pc:docMk/>
            <pc:sldMk cId="2122089933" sldId="332"/>
            <ac:spMk id="14" creationId="{DF30948C-C290-008E-BF17-91A1822F6CB7}"/>
          </ac:spMkLst>
        </pc:spChg>
        <pc:spChg chg="mod">
          <ac:chgData name="CHEN JINGSI" userId="2c6a6994-749a-46da-a9cf-6c6b6bb4c573" providerId="ADAL" clId="{AF9FF4B5-C0CB-AE41-A71D-39792613AE17}" dt="2023-05-08T16:59:38.015" v="120" actId="1076"/>
          <ac:spMkLst>
            <pc:docMk/>
            <pc:sldMk cId="2122089933" sldId="332"/>
            <ac:spMk id="15" creationId="{03B78A08-8528-A446-BEE7-ECCF23EF8B5A}"/>
          </ac:spMkLst>
        </pc:spChg>
        <pc:spChg chg="del">
          <ac:chgData name="CHEN JINGSI" userId="2c6a6994-749a-46da-a9cf-6c6b6bb4c573" providerId="ADAL" clId="{AF9FF4B5-C0CB-AE41-A71D-39792613AE17}" dt="2023-05-08T16:58:29.092" v="105" actId="478"/>
          <ac:spMkLst>
            <pc:docMk/>
            <pc:sldMk cId="2122089933" sldId="332"/>
            <ac:spMk id="16" creationId="{A571050C-B9B7-777A-1EBC-87DEBEC00051}"/>
          </ac:spMkLst>
        </pc:spChg>
        <pc:spChg chg="mod">
          <ac:chgData name="CHEN JINGSI" userId="2c6a6994-749a-46da-a9cf-6c6b6bb4c573" providerId="ADAL" clId="{AF9FF4B5-C0CB-AE41-A71D-39792613AE17}" dt="2023-05-08T17:00:13.902" v="128" actId="1076"/>
          <ac:spMkLst>
            <pc:docMk/>
            <pc:sldMk cId="2122089933" sldId="332"/>
            <ac:spMk id="17" creationId="{919BC826-BC06-D9D3-5D22-ECCD65AA2F97}"/>
          </ac:spMkLst>
        </pc:spChg>
        <pc:spChg chg="add del mod">
          <ac:chgData name="CHEN JINGSI" userId="2c6a6994-749a-46da-a9cf-6c6b6bb4c573" providerId="ADAL" clId="{AF9FF4B5-C0CB-AE41-A71D-39792613AE17}" dt="2023-05-08T17:00:43.514" v="140"/>
          <ac:spMkLst>
            <pc:docMk/>
            <pc:sldMk cId="2122089933" sldId="332"/>
            <ac:spMk id="25" creationId="{07205C13-EE7F-ECC8-D330-DCE724B6D334}"/>
          </ac:spMkLst>
        </pc:spChg>
        <pc:spChg chg="add mod">
          <ac:chgData name="CHEN JINGSI" userId="2c6a6994-749a-46da-a9cf-6c6b6bb4c573" providerId="ADAL" clId="{AF9FF4B5-C0CB-AE41-A71D-39792613AE17}" dt="2023-05-08T17:00:59.878" v="144" actId="14100"/>
          <ac:spMkLst>
            <pc:docMk/>
            <pc:sldMk cId="2122089933" sldId="332"/>
            <ac:spMk id="26" creationId="{DEBFFDCB-C9A3-D23B-AA95-98463B140246}"/>
          </ac:spMkLst>
        </pc:spChg>
        <pc:spChg chg="add mod">
          <ac:chgData name="CHEN JINGSI" userId="2c6a6994-749a-46da-a9cf-6c6b6bb4c573" providerId="ADAL" clId="{AF9FF4B5-C0CB-AE41-A71D-39792613AE17}" dt="2023-05-08T17:18:12.452" v="184" actId="164"/>
          <ac:spMkLst>
            <pc:docMk/>
            <pc:sldMk cId="2122089933" sldId="332"/>
            <ac:spMk id="31" creationId="{8F6CB1C1-EEA1-0188-FACB-4C058403C705}"/>
          </ac:spMkLst>
        </pc:spChg>
        <pc:spChg chg="add mod">
          <ac:chgData name="CHEN JINGSI" userId="2c6a6994-749a-46da-a9cf-6c6b6bb4c573" providerId="ADAL" clId="{AF9FF4B5-C0CB-AE41-A71D-39792613AE17}" dt="2023-05-08T17:25:14.560" v="264" actId="20577"/>
          <ac:spMkLst>
            <pc:docMk/>
            <pc:sldMk cId="2122089933" sldId="332"/>
            <ac:spMk id="32" creationId="{65F158BF-737D-0E04-123C-FDED11EA1492}"/>
          </ac:spMkLst>
        </pc:spChg>
        <pc:spChg chg="add mod">
          <ac:chgData name="CHEN JINGSI" userId="2c6a6994-749a-46da-a9cf-6c6b6bb4c573" providerId="ADAL" clId="{AF9FF4B5-C0CB-AE41-A71D-39792613AE17}" dt="2023-05-08T17:18:12.452" v="184" actId="164"/>
          <ac:spMkLst>
            <pc:docMk/>
            <pc:sldMk cId="2122089933" sldId="332"/>
            <ac:spMk id="33" creationId="{CF5FC112-0CCF-9914-6CDA-5D53D7D6DD53}"/>
          </ac:spMkLst>
        </pc:spChg>
        <pc:spChg chg="add mod">
          <ac:chgData name="CHEN JINGSI" userId="2c6a6994-749a-46da-a9cf-6c6b6bb4c573" providerId="ADAL" clId="{AF9FF4B5-C0CB-AE41-A71D-39792613AE17}" dt="2023-05-08T17:18:12.452" v="184" actId="164"/>
          <ac:spMkLst>
            <pc:docMk/>
            <pc:sldMk cId="2122089933" sldId="332"/>
            <ac:spMk id="34" creationId="{4C9E7B52-750F-5F54-C30E-2B4172056B97}"/>
          </ac:spMkLst>
        </pc:spChg>
        <pc:spChg chg="add mod">
          <ac:chgData name="CHEN JINGSI" userId="2c6a6994-749a-46da-a9cf-6c6b6bb4c573" providerId="ADAL" clId="{AF9FF4B5-C0CB-AE41-A71D-39792613AE17}" dt="2023-05-08T17:18:12.452" v="184" actId="164"/>
          <ac:spMkLst>
            <pc:docMk/>
            <pc:sldMk cId="2122089933" sldId="332"/>
            <ac:spMk id="35" creationId="{D4307527-268B-DE3D-F513-57578A90B98D}"/>
          </ac:spMkLst>
        </pc:spChg>
        <pc:spChg chg="add mod">
          <ac:chgData name="CHEN JINGSI" userId="2c6a6994-749a-46da-a9cf-6c6b6bb4c573" providerId="ADAL" clId="{AF9FF4B5-C0CB-AE41-A71D-39792613AE17}" dt="2023-05-08T17:18:12.452" v="184" actId="164"/>
          <ac:spMkLst>
            <pc:docMk/>
            <pc:sldMk cId="2122089933" sldId="332"/>
            <ac:spMk id="36" creationId="{D809F7F8-FF49-BAA8-131A-C7C5D5018B1D}"/>
          </ac:spMkLst>
        </pc:spChg>
        <pc:spChg chg="add mod">
          <ac:chgData name="CHEN JINGSI" userId="2c6a6994-749a-46da-a9cf-6c6b6bb4c573" providerId="ADAL" clId="{AF9FF4B5-C0CB-AE41-A71D-39792613AE17}" dt="2023-05-08T17:18:12.452" v="184" actId="164"/>
          <ac:spMkLst>
            <pc:docMk/>
            <pc:sldMk cId="2122089933" sldId="332"/>
            <ac:spMk id="37" creationId="{49DDADB4-7F91-3542-A02D-B8B1A2EF1F16}"/>
          </ac:spMkLst>
        </pc:spChg>
        <pc:spChg chg="add mod">
          <ac:chgData name="CHEN JINGSI" userId="2c6a6994-749a-46da-a9cf-6c6b6bb4c573" providerId="ADAL" clId="{AF9FF4B5-C0CB-AE41-A71D-39792613AE17}" dt="2023-05-08T17:18:12.452" v="184" actId="164"/>
          <ac:spMkLst>
            <pc:docMk/>
            <pc:sldMk cId="2122089933" sldId="332"/>
            <ac:spMk id="38" creationId="{522C939E-0F4C-FDD7-49B1-B2E4F6F7AB47}"/>
          </ac:spMkLst>
        </pc:spChg>
        <pc:spChg chg="add mod">
          <ac:chgData name="CHEN JINGSI" userId="2c6a6994-749a-46da-a9cf-6c6b6bb4c573" providerId="ADAL" clId="{AF9FF4B5-C0CB-AE41-A71D-39792613AE17}" dt="2023-05-08T17:25:18.317" v="265"/>
          <ac:spMkLst>
            <pc:docMk/>
            <pc:sldMk cId="2122089933" sldId="332"/>
            <ac:spMk id="39" creationId="{8120333F-9557-EE47-95B2-BAE43F32FC04}"/>
          </ac:spMkLst>
        </pc:spChg>
        <pc:spChg chg="add mod">
          <ac:chgData name="CHEN JINGSI" userId="2c6a6994-749a-46da-a9cf-6c6b6bb4c573" providerId="ADAL" clId="{AF9FF4B5-C0CB-AE41-A71D-39792613AE17}" dt="2023-05-08T17:18:12.452" v="184" actId="164"/>
          <ac:spMkLst>
            <pc:docMk/>
            <pc:sldMk cId="2122089933" sldId="332"/>
            <ac:spMk id="40" creationId="{D5B8008B-48E0-8CE4-F1CE-614DE6199CF5}"/>
          </ac:spMkLst>
        </pc:spChg>
        <pc:spChg chg="add mod">
          <ac:chgData name="CHEN JINGSI" userId="2c6a6994-749a-46da-a9cf-6c6b6bb4c573" providerId="ADAL" clId="{AF9FF4B5-C0CB-AE41-A71D-39792613AE17}" dt="2023-05-08T17:18:12.452" v="184" actId="164"/>
          <ac:spMkLst>
            <pc:docMk/>
            <pc:sldMk cId="2122089933" sldId="332"/>
            <ac:spMk id="41" creationId="{6BFF0187-9C55-2864-733A-E686C13A855B}"/>
          </ac:spMkLst>
        </pc:spChg>
        <pc:spChg chg="add mod">
          <ac:chgData name="CHEN JINGSI" userId="2c6a6994-749a-46da-a9cf-6c6b6bb4c573" providerId="ADAL" clId="{AF9FF4B5-C0CB-AE41-A71D-39792613AE17}" dt="2023-05-08T17:18:12.452" v="184" actId="164"/>
          <ac:spMkLst>
            <pc:docMk/>
            <pc:sldMk cId="2122089933" sldId="332"/>
            <ac:spMk id="42" creationId="{C3698D33-0FB5-E374-DA6B-E547E2400BD9}"/>
          </ac:spMkLst>
        </pc:spChg>
        <pc:grpChg chg="del mod">
          <ac:chgData name="CHEN JINGSI" userId="2c6a6994-749a-46da-a9cf-6c6b6bb4c573" providerId="ADAL" clId="{AF9FF4B5-C0CB-AE41-A71D-39792613AE17}" dt="2023-05-08T17:18:00.164" v="181" actId="478"/>
          <ac:grpSpMkLst>
            <pc:docMk/>
            <pc:sldMk cId="2122089933" sldId="332"/>
            <ac:grpSpMk id="6" creationId="{39ECB93E-AC10-BB50-FB14-C3C0FA8928C7}"/>
          </ac:grpSpMkLst>
        </pc:grpChg>
        <pc:grpChg chg="mod">
          <ac:chgData name="CHEN JINGSI" userId="2c6a6994-749a-46da-a9cf-6c6b6bb4c573" providerId="ADAL" clId="{AF9FF4B5-C0CB-AE41-A71D-39792613AE17}" dt="2023-05-08T16:59:51.327" v="123" actId="164"/>
          <ac:grpSpMkLst>
            <pc:docMk/>
            <pc:sldMk cId="2122089933" sldId="332"/>
            <ac:grpSpMk id="18" creationId="{11044BE8-53E0-D699-17BC-BB7A7014F456}"/>
          </ac:grpSpMkLst>
        </pc:grpChg>
        <pc:grpChg chg="add mod">
          <ac:chgData name="CHEN JINGSI" userId="2c6a6994-749a-46da-a9cf-6c6b6bb4c573" providerId="ADAL" clId="{AF9FF4B5-C0CB-AE41-A71D-39792613AE17}" dt="2023-05-08T17:00:30.840" v="136" actId="1037"/>
          <ac:grpSpMkLst>
            <pc:docMk/>
            <pc:sldMk cId="2122089933" sldId="332"/>
            <ac:grpSpMk id="24" creationId="{DC9A4268-0E5D-ADF3-7156-B3A3E88059C2}"/>
          </ac:grpSpMkLst>
        </pc:grpChg>
        <pc:grpChg chg="add mod">
          <ac:chgData name="CHEN JINGSI" userId="2c6a6994-749a-46da-a9cf-6c6b6bb4c573" providerId="ADAL" clId="{AF9FF4B5-C0CB-AE41-A71D-39792613AE17}" dt="2023-05-08T17:02:48.108" v="153" actId="164"/>
          <ac:grpSpMkLst>
            <pc:docMk/>
            <pc:sldMk cId="2122089933" sldId="332"/>
            <ac:grpSpMk id="30" creationId="{65FFC82D-7D71-3EDD-8E55-D5949AEC0ED3}"/>
          </ac:grpSpMkLst>
        </pc:grpChg>
        <pc:grpChg chg="add mod">
          <ac:chgData name="CHEN JINGSI" userId="2c6a6994-749a-46da-a9cf-6c6b6bb4c573" providerId="ADAL" clId="{AF9FF4B5-C0CB-AE41-A71D-39792613AE17}" dt="2023-05-08T17:18:12.452" v="184" actId="164"/>
          <ac:grpSpMkLst>
            <pc:docMk/>
            <pc:sldMk cId="2122089933" sldId="332"/>
            <ac:grpSpMk id="43" creationId="{22B4B049-F97E-FB1D-7681-05D569CA36A9}"/>
          </ac:grpSpMkLst>
        </pc:grpChg>
        <pc:picChg chg="del">
          <ac:chgData name="CHEN JINGSI" userId="2c6a6994-749a-46da-a9cf-6c6b6bb4c573" providerId="ADAL" clId="{AF9FF4B5-C0CB-AE41-A71D-39792613AE17}" dt="2023-05-08T16:56:01.385" v="84" actId="478"/>
          <ac:picMkLst>
            <pc:docMk/>
            <pc:sldMk cId="2122089933" sldId="332"/>
            <ac:picMk id="7" creationId="{C9CD3806-22D2-F7E6-34B4-B1DAB1631078}"/>
          </ac:picMkLst>
        </pc:picChg>
        <pc:picChg chg="del">
          <ac:chgData name="CHEN JINGSI" userId="2c6a6994-749a-46da-a9cf-6c6b6bb4c573" providerId="ADAL" clId="{AF9FF4B5-C0CB-AE41-A71D-39792613AE17}" dt="2023-05-08T16:56:12.700" v="91" actId="478"/>
          <ac:picMkLst>
            <pc:docMk/>
            <pc:sldMk cId="2122089933" sldId="332"/>
            <ac:picMk id="8" creationId="{874A6595-F889-4C7D-5031-A3FF7F5D2D2C}"/>
          </ac:picMkLst>
        </pc:picChg>
        <pc:picChg chg="del">
          <ac:chgData name="CHEN JINGSI" userId="2c6a6994-749a-46da-a9cf-6c6b6bb4c573" providerId="ADAL" clId="{AF9FF4B5-C0CB-AE41-A71D-39792613AE17}" dt="2023-05-08T16:57:45.762" v="93" actId="478"/>
          <ac:picMkLst>
            <pc:docMk/>
            <pc:sldMk cId="2122089933" sldId="332"/>
            <ac:picMk id="9" creationId="{BD944CE7-6DCE-241A-AFAC-D0EBBF83C959}"/>
          </ac:picMkLst>
        </pc:picChg>
        <pc:picChg chg="add mod">
          <ac:chgData name="CHEN JINGSI" userId="2c6a6994-749a-46da-a9cf-6c6b6bb4c573" providerId="ADAL" clId="{AF9FF4B5-C0CB-AE41-A71D-39792613AE17}" dt="2023-05-08T16:59:51.327" v="123" actId="164"/>
          <ac:picMkLst>
            <pc:docMk/>
            <pc:sldMk cId="2122089933" sldId="332"/>
            <ac:picMk id="19" creationId="{B129E8EB-2B65-98D7-A1AB-61A8360E856B}"/>
          </ac:picMkLst>
        </pc:picChg>
        <pc:picChg chg="add mod">
          <ac:chgData name="CHEN JINGSI" userId="2c6a6994-749a-46da-a9cf-6c6b6bb4c573" providerId="ADAL" clId="{AF9FF4B5-C0CB-AE41-A71D-39792613AE17}" dt="2023-05-08T16:59:51.327" v="123" actId="164"/>
          <ac:picMkLst>
            <pc:docMk/>
            <pc:sldMk cId="2122089933" sldId="332"/>
            <ac:picMk id="21" creationId="{8A12632C-1026-C1A4-BCF5-131CAC37B56F}"/>
          </ac:picMkLst>
        </pc:picChg>
        <pc:picChg chg="add mod">
          <ac:chgData name="CHEN JINGSI" userId="2c6a6994-749a-46da-a9cf-6c6b6bb4c573" providerId="ADAL" clId="{AF9FF4B5-C0CB-AE41-A71D-39792613AE17}" dt="2023-05-08T17:02:48.108" v="153" actId="164"/>
          <ac:picMkLst>
            <pc:docMk/>
            <pc:sldMk cId="2122089933" sldId="332"/>
            <ac:picMk id="23" creationId="{F718FF28-9BE1-3C8E-2444-78B2BEFC8974}"/>
          </ac:picMkLst>
        </pc:picChg>
        <pc:picChg chg="del">
          <ac:chgData name="CHEN JINGSI" userId="2c6a6994-749a-46da-a9cf-6c6b6bb4c573" providerId="ADAL" clId="{AF9FF4B5-C0CB-AE41-A71D-39792613AE17}" dt="2023-05-08T17:18:00.164" v="181" actId="478"/>
          <ac:picMkLst>
            <pc:docMk/>
            <pc:sldMk cId="2122089933" sldId="332"/>
            <ac:picMk id="1027" creationId="{BF4E4BBE-39DF-BD22-9022-9D98AC7A9891}"/>
          </ac:picMkLst>
        </pc:picChg>
        <pc:cxnChg chg="add mod">
          <ac:chgData name="CHEN JINGSI" userId="2c6a6994-749a-46da-a9cf-6c6b6bb4c573" providerId="ADAL" clId="{AF9FF4B5-C0CB-AE41-A71D-39792613AE17}" dt="2023-05-08T17:02:48.108" v="153" actId="164"/>
          <ac:cxnSpMkLst>
            <pc:docMk/>
            <pc:sldMk cId="2122089933" sldId="332"/>
            <ac:cxnSpMk id="28" creationId="{982A721A-C684-9111-8A56-2B39A5BB63BB}"/>
          </ac:cxnSpMkLst>
        </pc:cxnChg>
      </pc:sldChg>
      <pc:sldChg chg="addSp delSp modSp mod">
        <pc:chgData name="CHEN JINGSI" userId="2c6a6994-749a-46da-a9cf-6c6b6bb4c573" providerId="ADAL" clId="{AF9FF4B5-C0CB-AE41-A71D-39792613AE17}" dt="2023-05-08T18:25:20.781" v="1026" actId="20577"/>
        <pc:sldMkLst>
          <pc:docMk/>
          <pc:sldMk cId="3186716803" sldId="333"/>
        </pc:sldMkLst>
        <pc:spChg chg="mod">
          <ac:chgData name="CHEN JINGSI" userId="2c6a6994-749a-46da-a9cf-6c6b6bb4c573" providerId="ADAL" clId="{AF9FF4B5-C0CB-AE41-A71D-39792613AE17}" dt="2023-05-08T17:18:24.882" v="186"/>
          <ac:spMkLst>
            <pc:docMk/>
            <pc:sldMk cId="3186716803" sldId="333"/>
            <ac:spMk id="8" creationId="{DB44674E-63F1-982D-A326-BE05ABE5632B}"/>
          </ac:spMkLst>
        </pc:spChg>
        <pc:spChg chg="mod">
          <ac:chgData name="CHEN JINGSI" userId="2c6a6994-749a-46da-a9cf-6c6b6bb4c573" providerId="ADAL" clId="{AF9FF4B5-C0CB-AE41-A71D-39792613AE17}" dt="2023-05-08T17:25:08.805" v="260" actId="20577"/>
          <ac:spMkLst>
            <pc:docMk/>
            <pc:sldMk cId="3186716803" sldId="333"/>
            <ac:spMk id="9" creationId="{AD94206B-D2FF-F8F2-7962-C91A5F87C936}"/>
          </ac:spMkLst>
        </pc:spChg>
        <pc:spChg chg="mod">
          <ac:chgData name="CHEN JINGSI" userId="2c6a6994-749a-46da-a9cf-6c6b6bb4c573" providerId="ADAL" clId="{AF9FF4B5-C0CB-AE41-A71D-39792613AE17}" dt="2023-05-08T17:18:24.882" v="186"/>
          <ac:spMkLst>
            <pc:docMk/>
            <pc:sldMk cId="3186716803" sldId="333"/>
            <ac:spMk id="10" creationId="{CDA7A7DE-3E0B-FB7D-BDF8-39231BE19419}"/>
          </ac:spMkLst>
        </pc:spChg>
        <pc:spChg chg="mod">
          <ac:chgData name="CHEN JINGSI" userId="2c6a6994-749a-46da-a9cf-6c6b6bb4c573" providerId="ADAL" clId="{AF9FF4B5-C0CB-AE41-A71D-39792613AE17}" dt="2023-05-08T17:18:24.882" v="186"/>
          <ac:spMkLst>
            <pc:docMk/>
            <pc:sldMk cId="3186716803" sldId="333"/>
            <ac:spMk id="11" creationId="{C7F127FA-B384-E1D0-7EBE-D1B52FA97175}"/>
          </ac:spMkLst>
        </pc:spChg>
        <pc:spChg chg="mod topLvl">
          <ac:chgData name="CHEN JINGSI" userId="2c6a6994-749a-46da-a9cf-6c6b6bb4c573" providerId="ADAL" clId="{AF9FF4B5-C0CB-AE41-A71D-39792613AE17}" dt="2023-05-08T18:25:20.781" v="1026" actId="20577"/>
          <ac:spMkLst>
            <pc:docMk/>
            <pc:sldMk cId="3186716803" sldId="333"/>
            <ac:spMk id="12" creationId="{44660892-6B30-B397-10B2-2FE20780FB29}"/>
          </ac:spMkLst>
        </pc:spChg>
        <pc:spChg chg="mod">
          <ac:chgData name="CHEN JINGSI" userId="2c6a6994-749a-46da-a9cf-6c6b6bb4c573" providerId="ADAL" clId="{AF9FF4B5-C0CB-AE41-A71D-39792613AE17}" dt="2023-05-08T17:18:24.882" v="186"/>
          <ac:spMkLst>
            <pc:docMk/>
            <pc:sldMk cId="3186716803" sldId="333"/>
            <ac:spMk id="13" creationId="{949EDC20-328D-A39A-79C1-92DCFABA71B6}"/>
          </ac:spMkLst>
        </pc:spChg>
        <pc:spChg chg="mod">
          <ac:chgData name="CHEN JINGSI" userId="2c6a6994-749a-46da-a9cf-6c6b6bb4c573" providerId="ADAL" clId="{AF9FF4B5-C0CB-AE41-A71D-39792613AE17}" dt="2023-05-08T17:18:24.882" v="186"/>
          <ac:spMkLst>
            <pc:docMk/>
            <pc:sldMk cId="3186716803" sldId="333"/>
            <ac:spMk id="14" creationId="{4EBE64E3-8CCC-281B-1DD0-7BF32F6D88DF}"/>
          </ac:spMkLst>
        </pc:spChg>
        <pc:spChg chg="mod">
          <ac:chgData name="CHEN JINGSI" userId="2c6a6994-749a-46da-a9cf-6c6b6bb4c573" providerId="ADAL" clId="{AF9FF4B5-C0CB-AE41-A71D-39792613AE17}" dt="2023-05-08T17:18:24.882" v="186"/>
          <ac:spMkLst>
            <pc:docMk/>
            <pc:sldMk cId="3186716803" sldId="333"/>
            <ac:spMk id="15" creationId="{15AB967F-F3AD-E264-227B-9B64E97B2E77}"/>
          </ac:spMkLst>
        </pc:spChg>
        <pc:spChg chg="mod">
          <ac:chgData name="CHEN JINGSI" userId="2c6a6994-749a-46da-a9cf-6c6b6bb4c573" providerId="ADAL" clId="{AF9FF4B5-C0CB-AE41-A71D-39792613AE17}" dt="2023-05-08T17:18:24.882" v="186"/>
          <ac:spMkLst>
            <pc:docMk/>
            <pc:sldMk cId="3186716803" sldId="333"/>
            <ac:spMk id="16" creationId="{B4F94093-BB98-3D34-56AC-77F4864F6D0E}"/>
          </ac:spMkLst>
        </pc:spChg>
        <pc:spChg chg="mod">
          <ac:chgData name="CHEN JINGSI" userId="2c6a6994-749a-46da-a9cf-6c6b6bb4c573" providerId="ADAL" clId="{AF9FF4B5-C0CB-AE41-A71D-39792613AE17}" dt="2023-05-08T17:25:04.725" v="256"/>
          <ac:spMkLst>
            <pc:docMk/>
            <pc:sldMk cId="3186716803" sldId="333"/>
            <ac:spMk id="17" creationId="{692E55C4-7E14-3E9C-D5F1-3EA6A8ED5BED}"/>
          </ac:spMkLst>
        </pc:spChg>
        <pc:spChg chg="mod">
          <ac:chgData name="CHEN JINGSI" userId="2c6a6994-749a-46da-a9cf-6c6b6bb4c573" providerId="ADAL" clId="{AF9FF4B5-C0CB-AE41-A71D-39792613AE17}" dt="2023-05-08T17:18:24.882" v="186"/>
          <ac:spMkLst>
            <pc:docMk/>
            <pc:sldMk cId="3186716803" sldId="333"/>
            <ac:spMk id="18" creationId="{1B4E443C-C866-8F19-2810-5E7680FC5623}"/>
          </ac:spMkLst>
        </pc:spChg>
        <pc:spChg chg="mod">
          <ac:chgData name="CHEN JINGSI" userId="2c6a6994-749a-46da-a9cf-6c6b6bb4c573" providerId="ADAL" clId="{AF9FF4B5-C0CB-AE41-A71D-39792613AE17}" dt="2023-05-08T17:20:23.568" v="208" actId="207"/>
          <ac:spMkLst>
            <pc:docMk/>
            <pc:sldMk cId="3186716803" sldId="333"/>
            <ac:spMk id="20" creationId="{AD12C484-C246-4DC8-4A4A-38837310FC4B}"/>
          </ac:spMkLst>
        </pc:spChg>
        <pc:spChg chg="mod">
          <ac:chgData name="CHEN JINGSI" userId="2c6a6994-749a-46da-a9cf-6c6b6bb4c573" providerId="ADAL" clId="{AF9FF4B5-C0CB-AE41-A71D-39792613AE17}" dt="2023-05-08T17:18:24.882" v="186"/>
          <ac:spMkLst>
            <pc:docMk/>
            <pc:sldMk cId="3186716803" sldId="333"/>
            <ac:spMk id="21" creationId="{F759ED8D-4A0F-83E6-05A7-372CF0C6B2F7}"/>
          </ac:spMkLst>
        </pc:spChg>
        <pc:spChg chg="add del mod">
          <ac:chgData name="CHEN JINGSI" userId="2c6a6994-749a-46da-a9cf-6c6b6bb4c573" providerId="ADAL" clId="{AF9FF4B5-C0CB-AE41-A71D-39792613AE17}" dt="2023-05-08T17:27:32.489" v="273" actId="478"/>
          <ac:spMkLst>
            <pc:docMk/>
            <pc:sldMk cId="3186716803" sldId="333"/>
            <ac:spMk id="23" creationId="{572914BD-3EEF-6459-FEBF-EDE93B004310}"/>
          </ac:spMkLst>
        </pc:spChg>
        <pc:spChg chg="add del mod">
          <ac:chgData name="CHEN JINGSI" userId="2c6a6994-749a-46da-a9cf-6c6b6bb4c573" providerId="ADAL" clId="{AF9FF4B5-C0CB-AE41-A71D-39792613AE17}" dt="2023-05-08T17:34:14.726" v="421" actId="478"/>
          <ac:spMkLst>
            <pc:docMk/>
            <pc:sldMk cId="3186716803" sldId="333"/>
            <ac:spMk id="24" creationId="{0C6EB116-4718-4D8B-AA22-E13A385AA293}"/>
          </ac:spMkLst>
        </pc:spChg>
        <pc:spChg chg="add mod topLvl">
          <ac:chgData name="CHEN JINGSI" userId="2c6a6994-749a-46da-a9cf-6c6b6bb4c573" providerId="ADAL" clId="{AF9FF4B5-C0CB-AE41-A71D-39792613AE17}" dt="2023-05-08T18:18:35.478" v="975"/>
          <ac:spMkLst>
            <pc:docMk/>
            <pc:sldMk cId="3186716803" sldId="333"/>
            <ac:spMk id="25" creationId="{6B3BFDE5-1ADE-4777-0A50-802BF2A9302F}"/>
          </ac:spMkLst>
        </pc:spChg>
        <pc:spChg chg="add mod topLvl">
          <ac:chgData name="CHEN JINGSI" userId="2c6a6994-749a-46da-a9cf-6c6b6bb4c573" providerId="ADAL" clId="{AF9FF4B5-C0CB-AE41-A71D-39792613AE17}" dt="2023-05-08T18:18:35.478" v="975"/>
          <ac:spMkLst>
            <pc:docMk/>
            <pc:sldMk cId="3186716803" sldId="333"/>
            <ac:spMk id="26" creationId="{2B61AA6B-16D9-9730-4671-B4E89228C7E0}"/>
          </ac:spMkLst>
        </pc:spChg>
        <pc:spChg chg="add del mod topLvl">
          <ac:chgData name="CHEN JINGSI" userId="2c6a6994-749a-46da-a9cf-6c6b6bb4c573" providerId="ADAL" clId="{AF9FF4B5-C0CB-AE41-A71D-39792613AE17}" dt="2023-05-08T17:47:02.796" v="564" actId="478"/>
          <ac:spMkLst>
            <pc:docMk/>
            <pc:sldMk cId="3186716803" sldId="333"/>
            <ac:spMk id="27" creationId="{4BD8BFFC-D06A-6974-AA72-63332779C2B8}"/>
          </ac:spMkLst>
        </pc:spChg>
        <pc:spChg chg="add mod topLvl">
          <ac:chgData name="CHEN JINGSI" userId="2c6a6994-749a-46da-a9cf-6c6b6bb4c573" providerId="ADAL" clId="{AF9FF4B5-C0CB-AE41-A71D-39792613AE17}" dt="2023-05-08T18:18:35.478" v="975"/>
          <ac:spMkLst>
            <pc:docMk/>
            <pc:sldMk cId="3186716803" sldId="333"/>
            <ac:spMk id="28" creationId="{662786DA-2790-44FA-6F83-E7E583E90A05}"/>
          </ac:spMkLst>
        </pc:spChg>
        <pc:spChg chg="add del mod">
          <ac:chgData name="CHEN JINGSI" userId="2c6a6994-749a-46da-a9cf-6c6b6bb4c573" providerId="ADAL" clId="{AF9FF4B5-C0CB-AE41-A71D-39792613AE17}" dt="2023-05-08T17:46:34.272" v="559" actId="21"/>
          <ac:spMkLst>
            <pc:docMk/>
            <pc:sldMk cId="3186716803" sldId="333"/>
            <ac:spMk id="29" creationId="{D8B56438-7AC4-2C00-689A-2E8CBB00410B}"/>
          </ac:spMkLst>
        </pc:spChg>
        <pc:spChg chg="add del mod">
          <ac:chgData name="CHEN JINGSI" userId="2c6a6994-749a-46da-a9cf-6c6b6bb4c573" providerId="ADAL" clId="{AF9FF4B5-C0CB-AE41-A71D-39792613AE17}" dt="2023-05-08T17:39:24.568" v="496" actId="478"/>
          <ac:spMkLst>
            <pc:docMk/>
            <pc:sldMk cId="3186716803" sldId="333"/>
            <ac:spMk id="30" creationId="{304607A2-25B3-AEB5-1413-B6D139838BE9}"/>
          </ac:spMkLst>
        </pc:spChg>
        <pc:spChg chg="add mod topLvl">
          <ac:chgData name="CHEN JINGSI" userId="2c6a6994-749a-46da-a9cf-6c6b6bb4c573" providerId="ADAL" clId="{AF9FF4B5-C0CB-AE41-A71D-39792613AE17}" dt="2023-05-08T18:18:35.478" v="975"/>
          <ac:spMkLst>
            <pc:docMk/>
            <pc:sldMk cId="3186716803" sldId="333"/>
            <ac:spMk id="31" creationId="{34D672B8-3B36-4D69-2BC5-EBD5F85D8074}"/>
          </ac:spMkLst>
        </pc:spChg>
        <pc:spChg chg="add del mod topLvl">
          <ac:chgData name="CHEN JINGSI" userId="2c6a6994-749a-46da-a9cf-6c6b6bb4c573" providerId="ADAL" clId="{AF9FF4B5-C0CB-AE41-A71D-39792613AE17}" dt="2023-05-08T17:47:10.265" v="567" actId="478"/>
          <ac:spMkLst>
            <pc:docMk/>
            <pc:sldMk cId="3186716803" sldId="333"/>
            <ac:spMk id="32" creationId="{B3783E5F-C4B2-1356-735A-A45386D597E6}"/>
          </ac:spMkLst>
        </pc:spChg>
        <pc:spChg chg="add mod">
          <ac:chgData name="CHEN JINGSI" userId="2c6a6994-749a-46da-a9cf-6c6b6bb4c573" providerId="ADAL" clId="{AF9FF4B5-C0CB-AE41-A71D-39792613AE17}" dt="2023-05-08T18:22:20.523" v="1015" actId="20577"/>
          <ac:spMkLst>
            <pc:docMk/>
            <pc:sldMk cId="3186716803" sldId="333"/>
            <ac:spMk id="35" creationId="{7BF936A6-6389-4615-85C1-3AD4F673D5FA}"/>
          </ac:spMkLst>
        </pc:spChg>
        <pc:spChg chg="add mod">
          <ac:chgData name="CHEN JINGSI" userId="2c6a6994-749a-46da-a9cf-6c6b6bb4c573" providerId="ADAL" clId="{AF9FF4B5-C0CB-AE41-A71D-39792613AE17}" dt="2023-05-08T18:19:28.052" v="984" actId="1076"/>
          <ac:spMkLst>
            <pc:docMk/>
            <pc:sldMk cId="3186716803" sldId="333"/>
            <ac:spMk id="37" creationId="{6A71061E-DD3D-9EDA-A9B4-425033F03885}"/>
          </ac:spMkLst>
        </pc:spChg>
        <pc:spChg chg="add del mod">
          <ac:chgData name="CHEN JINGSI" userId="2c6a6994-749a-46da-a9cf-6c6b6bb4c573" providerId="ADAL" clId="{AF9FF4B5-C0CB-AE41-A71D-39792613AE17}" dt="2023-05-08T17:47:48.359" v="575" actId="478"/>
          <ac:spMkLst>
            <pc:docMk/>
            <pc:sldMk cId="3186716803" sldId="333"/>
            <ac:spMk id="38" creationId="{C9E092B5-CDA9-617C-5F72-D7BEA3A32C69}"/>
          </ac:spMkLst>
        </pc:spChg>
        <pc:spChg chg="add mod">
          <ac:chgData name="CHEN JINGSI" userId="2c6a6994-749a-46da-a9cf-6c6b6bb4c573" providerId="ADAL" clId="{AF9FF4B5-C0CB-AE41-A71D-39792613AE17}" dt="2023-05-08T18:18:35.478" v="975"/>
          <ac:spMkLst>
            <pc:docMk/>
            <pc:sldMk cId="3186716803" sldId="333"/>
            <ac:spMk id="39" creationId="{CB132149-AB96-5977-CA43-AB089791D1D2}"/>
          </ac:spMkLst>
        </pc:spChg>
        <pc:spChg chg="add mod">
          <ac:chgData name="CHEN JINGSI" userId="2c6a6994-749a-46da-a9cf-6c6b6bb4c573" providerId="ADAL" clId="{AF9FF4B5-C0CB-AE41-A71D-39792613AE17}" dt="2023-05-08T18:18:35.478" v="975"/>
          <ac:spMkLst>
            <pc:docMk/>
            <pc:sldMk cId="3186716803" sldId="333"/>
            <ac:spMk id="40" creationId="{EFC70AB3-2CA2-F569-31C0-E9FDDDC76D1C}"/>
          </ac:spMkLst>
        </pc:spChg>
        <pc:spChg chg="add mod">
          <ac:chgData name="CHEN JINGSI" userId="2c6a6994-749a-46da-a9cf-6c6b6bb4c573" providerId="ADAL" clId="{AF9FF4B5-C0CB-AE41-A71D-39792613AE17}" dt="2023-05-08T18:18:35.478" v="975"/>
          <ac:spMkLst>
            <pc:docMk/>
            <pc:sldMk cId="3186716803" sldId="333"/>
            <ac:spMk id="41" creationId="{22F122FA-9C0A-4B0B-0274-7A598E4E6641}"/>
          </ac:spMkLst>
        </pc:spChg>
        <pc:spChg chg="add mod">
          <ac:chgData name="CHEN JINGSI" userId="2c6a6994-749a-46da-a9cf-6c6b6bb4c573" providerId="ADAL" clId="{AF9FF4B5-C0CB-AE41-A71D-39792613AE17}" dt="2023-05-08T18:18:35.478" v="975"/>
          <ac:spMkLst>
            <pc:docMk/>
            <pc:sldMk cId="3186716803" sldId="333"/>
            <ac:spMk id="42" creationId="{2B2CDAFE-992A-2FBA-0ED1-BD2D11E4D4CF}"/>
          </ac:spMkLst>
        </pc:spChg>
        <pc:spChg chg="add mod">
          <ac:chgData name="CHEN JINGSI" userId="2c6a6994-749a-46da-a9cf-6c6b6bb4c573" providerId="ADAL" clId="{AF9FF4B5-C0CB-AE41-A71D-39792613AE17}" dt="2023-05-08T18:19:31.247" v="985" actId="1076"/>
          <ac:spMkLst>
            <pc:docMk/>
            <pc:sldMk cId="3186716803" sldId="333"/>
            <ac:spMk id="43" creationId="{8CD5280F-22F8-3124-0A30-C945368D17F9}"/>
          </ac:spMkLst>
        </pc:spChg>
        <pc:spChg chg="add del mod">
          <ac:chgData name="CHEN JINGSI" userId="2c6a6994-749a-46da-a9cf-6c6b6bb4c573" providerId="ADAL" clId="{AF9FF4B5-C0CB-AE41-A71D-39792613AE17}" dt="2023-05-08T17:57:39.558" v="746" actId="478"/>
          <ac:spMkLst>
            <pc:docMk/>
            <pc:sldMk cId="3186716803" sldId="333"/>
            <ac:spMk id="46" creationId="{99A1B9CF-F17C-8468-82A2-F0466A69A418}"/>
          </ac:spMkLst>
        </pc:spChg>
        <pc:spChg chg="add mod">
          <ac:chgData name="CHEN JINGSI" userId="2c6a6994-749a-46da-a9cf-6c6b6bb4c573" providerId="ADAL" clId="{AF9FF4B5-C0CB-AE41-A71D-39792613AE17}" dt="2023-05-08T18:13:46.453" v="942" actId="20577"/>
          <ac:spMkLst>
            <pc:docMk/>
            <pc:sldMk cId="3186716803" sldId="333"/>
            <ac:spMk id="49" creationId="{EEA67609-A873-02A5-BD77-8A2992D5D21E}"/>
          </ac:spMkLst>
        </pc:spChg>
        <pc:spChg chg="add del mod">
          <ac:chgData name="CHEN JINGSI" userId="2c6a6994-749a-46da-a9cf-6c6b6bb4c573" providerId="ADAL" clId="{AF9FF4B5-C0CB-AE41-A71D-39792613AE17}" dt="2023-05-08T18:13:50.639" v="945"/>
          <ac:spMkLst>
            <pc:docMk/>
            <pc:sldMk cId="3186716803" sldId="333"/>
            <ac:spMk id="50" creationId="{8B20B25D-FF90-23EE-B7F5-70FEDC3BBF31}"/>
          </ac:spMkLst>
        </pc:spChg>
        <pc:grpChg chg="add mod">
          <ac:chgData name="CHEN JINGSI" userId="2c6a6994-749a-46da-a9cf-6c6b6bb4c573" providerId="ADAL" clId="{AF9FF4B5-C0CB-AE41-A71D-39792613AE17}" dt="2023-05-08T17:18:24.882" v="186"/>
          <ac:grpSpMkLst>
            <pc:docMk/>
            <pc:sldMk cId="3186716803" sldId="333"/>
            <ac:grpSpMk id="6" creationId="{348BE3D9-69BB-045E-D030-8B8048A56281}"/>
          </ac:grpSpMkLst>
        </pc:grpChg>
        <pc:grpChg chg="del">
          <ac:chgData name="CHEN JINGSI" userId="2c6a6994-749a-46da-a9cf-6c6b6bb4c573" providerId="ADAL" clId="{AF9FF4B5-C0CB-AE41-A71D-39792613AE17}" dt="2023-05-08T17:18:23.542" v="185" actId="478"/>
          <ac:grpSpMkLst>
            <pc:docMk/>
            <pc:sldMk cId="3186716803" sldId="333"/>
            <ac:grpSpMk id="7" creationId="{E0DEDD4B-E58C-F5F9-39C2-5F4070D02475}"/>
          </ac:grpSpMkLst>
        </pc:grpChg>
        <pc:grpChg chg="add del mod">
          <ac:chgData name="CHEN JINGSI" userId="2c6a6994-749a-46da-a9cf-6c6b6bb4c573" providerId="ADAL" clId="{AF9FF4B5-C0CB-AE41-A71D-39792613AE17}" dt="2023-05-08T17:44:38.285" v="546" actId="165"/>
          <ac:grpSpMkLst>
            <pc:docMk/>
            <pc:sldMk cId="3186716803" sldId="333"/>
            <ac:grpSpMk id="33" creationId="{A6FFCDB5-7631-927C-8D56-B6DA8F8FB5D9}"/>
          </ac:grpSpMkLst>
        </pc:grpChg>
        <pc:grpChg chg="add mod">
          <ac:chgData name="CHEN JINGSI" userId="2c6a6994-749a-46da-a9cf-6c6b6bb4c573" providerId="ADAL" clId="{AF9FF4B5-C0CB-AE41-A71D-39792613AE17}" dt="2023-05-08T18:18:35.478" v="975"/>
          <ac:grpSpMkLst>
            <pc:docMk/>
            <pc:sldMk cId="3186716803" sldId="333"/>
            <ac:grpSpMk id="36" creationId="{A8897EBB-7EAC-5D61-579D-BCF6DB0A9E8C}"/>
          </ac:grpSpMkLst>
        </pc:grpChg>
        <pc:grpChg chg="add mod">
          <ac:chgData name="CHEN JINGSI" userId="2c6a6994-749a-46da-a9cf-6c6b6bb4c573" providerId="ADAL" clId="{AF9FF4B5-C0CB-AE41-A71D-39792613AE17}" dt="2023-05-08T18:18:35.478" v="975"/>
          <ac:grpSpMkLst>
            <pc:docMk/>
            <pc:sldMk cId="3186716803" sldId="333"/>
            <ac:grpSpMk id="44" creationId="{422E8C5F-B9E7-3290-94C0-F8C718666052}"/>
          </ac:grpSpMkLst>
        </pc:grpChg>
        <pc:graphicFrameChg chg="del mod">
          <ac:chgData name="CHEN JINGSI" userId="2c6a6994-749a-46da-a9cf-6c6b6bb4c573" providerId="ADAL" clId="{AF9FF4B5-C0CB-AE41-A71D-39792613AE17}" dt="2023-05-08T17:57:34.771" v="745" actId="478"/>
          <ac:graphicFrameMkLst>
            <pc:docMk/>
            <pc:sldMk cId="3186716803" sldId="333"/>
            <ac:graphicFrameMk id="19" creationId="{1E6D77E0-7245-80A1-CC71-F6172631AAEF}"/>
          </ac:graphicFrameMkLst>
        </pc:graphicFrameChg>
        <pc:picChg chg="add mod">
          <ac:chgData name="CHEN JINGSI" userId="2c6a6994-749a-46da-a9cf-6c6b6bb4c573" providerId="ADAL" clId="{AF9FF4B5-C0CB-AE41-A71D-39792613AE17}" dt="2023-05-08T18:12:12.008" v="913" actId="1076"/>
          <ac:picMkLst>
            <pc:docMk/>
            <pc:sldMk cId="3186716803" sldId="333"/>
            <ac:picMk id="48" creationId="{5841F991-EB75-7765-3C21-B446BC05298A}"/>
          </ac:picMkLst>
        </pc:picChg>
      </pc:sldChg>
      <pc:sldChg chg="addSp delSp modSp mod">
        <pc:chgData name="CHEN JINGSI" userId="2c6a6994-749a-46da-a9cf-6c6b6bb4c573" providerId="ADAL" clId="{AF9FF4B5-C0CB-AE41-A71D-39792613AE17}" dt="2023-05-08T19:48:32.366" v="1190" actId="20577"/>
        <pc:sldMkLst>
          <pc:docMk/>
          <pc:sldMk cId="24899032" sldId="338"/>
        </pc:sldMkLst>
        <pc:spChg chg="del">
          <ac:chgData name="CHEN JINGSI" userId="2c6a6994-749a-46da-a9cf-6c6b6bb4c573" providerId="ADAL" clId="{AF9FF4B5-C0CB-AE41-A71D-39792613AE17}" dt="2023-05-08T17:18:36.146" v="188" actId="478"/>
          <ac:spMkLst>
            <pc:docMk/>
            <pc:sldMk cId="24899032" sldId="338"/>
            <ac:spMk id="5" creationId="{8BEB727A-1B3E-04F8-0D01-D825C864827B}"/>
          </ac:spMkLst>
        </pc:spChg>
        <pc:spChg chg="mod">
          <ac:chgData name="CHEN JINGSI" userId="2c6a6994-749a-46da-a9cf-6c6b6bb4c573" providerId="ADAL" clId="{AF9FF4B5-C0CB-AE41-A71D-39792613AE17}" dt="2023-05-08T19:33:43.823" v="1029" actId="1076"/>
          <ac:spMkLst>
            <pc:docMk/>
            <pc:sldMk cId="24899032" sldId="338"/>
            <ac:spMk id="6" creationId="{3CCC3C84-E348-3BEA-0AED-89D933D95A65}"/>
          </ac:spMkLst>
        </pc:spChg>
        <pc:spChg chg="del mod">
          <ac:chgData name="CHEN JINGSI" userId="2c6a6994-749a-46da-a9cf-6c6b6bb4c573" providerId="ADAL" clId="{AF9FF4B5-C0CB-AE41-A71D-39792613AE17}" dt="2023-05-08T19:33:39.614" v="1028" actId="478"/>
          <ac:spMkLst>
            <pc:docMk/>
            <pc:sldMk cId="24899032" sldId="338"/>
            <ac:spMk id="8" creationId="{3C6EC2B2-1D8A-1FB8-E24B-0DAAC5D5055C}"/>
          </ac:spMkLst>
        </pc:spChg>
        <pc:spChg chg="mod">
          <ac:chgData name="CHEN JINGSI" userId="2c6a6994-749a-46da-a9cf-6c6b6bb4c573" providerId="ADAL" clId="{AF9FF4B5-C0CB-AE41-A71D-39792613AE17}" dt="2023-05-08T19:33:47.803" v="1031" actId="1076"/>
          <ac:spMkLst>
            <pc:docMk/>
            <pc:sldMk cId="24899032" sldId="338"/>
            <ac:spMk id="9" creationId="{A7780947-0E2D-78A8-EB94-60C5B0743DC0}"/>
          </ac:spMkLst>
        </pc:spChg>
        <pc:spChg chg="mod">
          <ac:chgData name="CHEN JINGSI" userId="2c6a6994-749a-46da-a9cf-6c6b6bb4c573" providerId="ADAL" clId="{AF9FF4B5-C0CB-AE41-A71D-39792613AE17}" dt="2023-05-08T19:33:45.523" v="1030" actId="1076"/>
          <ac:spMkLst>
            <pc:docMk/>
            <pc:sldMk cId="24899032" sldId="338"/>
            <ac:spMk id="12" creationId="{CE7BA196-60F0-2B05-8FCC-6A0EFD5EC709}"/>
          </ac:spMkLst>
        </pc:spChg>
        <pc:spChg chg="mod">
          <ac:chgData name="CHEN JINGSI" userId="2c6a6994-749a-46da-a9cf-6c6b6bb4c573" providerId="ADAL" clId="{AF9FF4B5-C0CB-AE41-A71D-39792613AE17}" dt="2023-05-08T17:18:36.455" v="189"/>
          <ac:spMkLst>
            <pc:docMk/>
            <pc:sldMk cId="24899032" sldId="338"/>
            <ac:spMk id="14" creationId="{BCA45D6C-44BD-744A-8A41-2B488B54F86E}"/>
          </ac:spMkLst>
        </pc:spChg>
        <pc:spChg chg="mod">
          <ac:chgData name="CHEN JINGSI" userId="2c6a6994-749a-46da-a9cf-6c6b6bb4c573" providerId="ADAL" clId="{AF9FF4B5-C0CB-AE41-A71D-39792613AE17}" dt="2023-05-08T17:24:55.684" v="254" actId="20577"/>
          <ac:spMkLst>
            <pc:docMk/>
            <pc:sldMk cId="24899032" sldId="338"/>
            <ac:spMk id="15" creationId="{3E0DABB7-01CE-62FA-6C59-DF9049F77D9C}"/>
          </ac:spMkLst>
        </pc:spChg>
        <pc:spChg chg="mod">
          <ac:chgData name="CHEN JINGSI" userId="2c6a6994-749a-46da-a9cf-6c6b6bb4c573" providerId="ADAL" clId="{AF9FF4B5-C0CB-AE41-A71D-39792613AE17}" dt="2023-05-08T17:18:36.455" v="189"/>
          <ac:spMkLst>
            <pc:docMk/>
            <pc:sldMk cId="24899032" sldId="338"/>
            <ac:spMk id="16" creationId="{B7D32D9A-DADE-AB98-CFC3-CC9ACB57CE66}"/>
          </ac:spMkLst>
        </pc:spChg>
        <pc:spChg chg="mod">
          <ac:chgData name="CHEN JINGSI" userId="2c6a6994-749a-46da-a9cf-6c6b6bb4c573" providerId="ADAL" clId="{AF9FF4B5-C0CB-AE41-A71D-39792613AE17}" dt="2023-05-08T17:20:30.356" v="209" actId="207"/>
          <ac:spMkLst>
            <pc:docMk/>
            <pc:sldMk cId="24899032" sldId="338"/>
            <ac:spMk id="17" creationId="{3D406D8E-1A6C-70EC-7126-7EAEA28B7B23}"/>
          </ac:spMkLst>
        </pc:spChg>
        <pc:spChg chg="mod">
          <ac:chgData name="CHEN JINGSI" userId="2c6a6994-749a-46da-a9cf-6c6b6bb4c573" providerId="ADAL" clId="{AF9FF4B5-C0CB-AE41-A71D-39792613AE17}" dt="2023-05-08T17:18:36.455" v="189"/>
          <ac:spMkLst>
            <pc:docMk/>
            <pc:sldMk cId="24899032" sldId="338"/>
            <ac:spMk id="18" creationId="{275927F6-39A3-1494-8D44-3A2DD363A1B8}"/>
          </ac:spMkLst>
        </pc:spChg>
        <pc:spChg chg="mod">
          <ac:chgData name="CHEN JINGSI" userId="2c6a6994-749a-46da-a9cf-6c6b6bb4c573" providerId="ADAL" clId="{AF9FF4B5-C0CB-AE41-A71D-39792613AE17}" dt="2023-05-08T17:18:36.455" v="189"/>
          <ac:spMkLst>
            <pc:docMk/>
            <pc:sldMk cId="24899032" sldId="338"/>
            <ac:spMk id="19" creationId="{6F7475DB-23CE-EB00-E382-60D3B60B0946}"/>
          </ac:spMkLst>
        </pc:spChg>
        <pc:spChg chg="mod">
          <ac:chgData name="CHEN JINGSI" userId="2c6a6994-749a-46da-a9cf-6c6b6bb4c573" providerId="ADAL" clId="{AF9FF4B5-C0CB-AE41-A71D-39792613AE17}" dt="2023-05-08T17:18:36.455" v="189"/>
          <ac:spMkLst>
            <pc:docMk/>
            <pc:sldMk cId="24899032" sldId="338"/>
            <ac:spMk id="20" creationId="{1DAF3D0F-A572-BA59-F888-76CA4984E386}"/>
          </ac:spMkLst>
        </pc:spChg>
        <pc:spChg chg="mod">
          <ac:chgData name="CHEN JINGSI" userId="2c6a6994-749a-46da-a9cf-6c6b6bb4c573" providerId="ADAL" clId="{AF9FF4B5-C0CB-AE41-A71D-39792613AE17}" dt="2023-05-08T17:18:36.455" v="189"/>
          <ac:spMkLst>
            <pc:docMk/>
            <pc:sldMk cId="24899032" sldId="338"/>
            <ac:spMk id="21" creationId="{D783AC9B-027B-8924-CA29-4F8381B3599D}"/>
          </ac:spMkLst>
        </pc:spChg>
        <pc:spChg chg="mod">
          <ac:chgData name="CHEN JINGSI" userId="2c6a6994-749a-46da-a9cf-6c6b6bb4c573" providerId="ADAL" clId="{AF9FF4B5-C0CB-AE41-A71D-39792613AE17}" dt="2023-05-08T17:24:51.264" v="250"/>
          <ac:spMkLst>
            <pc:docMk/>
            <pc:sldMk cId="24899032" sldId="338"/>
            <ac:spMk id="22" creationId="{F7550B40-173E-84C8-2A34-522B8E9F4B41}"/>
          </ac:spMkLst>
        </pc:spChg>
        <pc:spChg chg="mod">
          <ac:chgData name="CHEN JINGSI" userId="2c6a6994-749a-46da-a9cf-6c6b6bb4c573" providerId="ADAL" clId="{AF9FF4B5-C0CB-AE41-A71D-39792613AE17}" dt="2023-05-08T17:18:36.455" v="189"/>
          <ac:spMkLst>
            <pc:docMk/>
            <pc:sldMk cId="24899032" sldId="338"/>
            <ac:spMk id="23" creationId="{990D6325-6A46-F1BB-87B6-C8CE23A429A3}"/>
          </ac:spMkLst>
        </pc:spChg>
        <pc:spChg chg="mod">
          <ac:chgData name="CHEN JINGSI" userId="2c6a6994-749a-46da-a9cf-6c6b6bb4c573" providerId="ADAL" clId="{AF9FF4B5-C0CB-AE41-A71D-39792613AE17}" dt="2023-05-08T17:18:36.455" v="189"/>
          <ac:spMkLst>
            <pc:docMk/>
            <pc:sldMk cId="24899032" sldId="338"/>
            <ac:spMk id="24" creationId="{04F83263-13C2-60A2-E2D8-A1692A9DCB44}"/>
          </ac:spMkLst>
        </pc:spChg>
        <pc:spChg chg="mod">
          <ac:chgData name="CHEN JINGSI" userId="2c6a6994-749a-46da-a9cf-6c6b6bb4c573" providerId="ADAL" clId="{AF9FF4B5-C0CB-AE41-A71D-39792613AE17}" dt="2023-05-08T17:18:36.455" v="189"/>
          <ac:spMkLst>
            <pc:docMk/>
            <pc:sldMk cId="24899032" sldId="338"/>
            <ac:spMk id="25" creationId="{B59CFF0C-06E8-17E1-4E9A-D70FC81C83C2}"/>
          </ac:spMkLst>
        </pc:spChg>
        <pc:spChg chg="mod">
          <ac:chgData name="CHEN JINGSI" userId="2c6a6994-749a-46da-a9cf-6c6b6bb4c573" providerId="ADAL" clId="{AF9FF4B5-C0CB-AE41-A71D-39792613AE17}" dt="2023-05-08T19:45:44.164" v="1163" actId="20577"/>
          <ac:spMkLst>
            <pc:docMk/>
            <pc:sldMk cId="24899032" sldId="338"/>
            <ac:spMk id="28" creationId="{DFA9FCB5-0C15-2F9E-DA08-A0BA5E0AE23D}"/>
          </ac:spMkLst>
        </pc:spChg>
        <pc:spChg chg="del mod">
          <ac:chgData name="CHEN JINGSI" userId="2c6a6994-749a-46da-a9cf-6c6b6bb4c573" providerId="ADAL" clId="{AF9FF4B5-C0CB-AE41-A71D-39792613AE17}" dt="2023-05-08T19:35:36.252" v="1044" actId="478"/>
          <ac:spMkLst>
            <pc:docMk/>
            <pc:sldMk cId="24899032" sldId="338"/>
            <ac:spMk id="29" creationId="{0F193458-62BD-17C0-2291-61D358BCCEBC}"/>
          </ac:spMkLst>
        </pc:spChg>
        <pc:spChg chg="del mod">
          <ac:chgData name="CHEN JINGSI" userId="2c6a6994-749a-46da-a9cf-6c6b6bb4c573" providerId="ADAL" clId="{AF9FF4B5-C0CB-AE41-A71D-39792613AE17}" dt="2023-05-08T19:35:37.621" v="1045" actId="478"/>
          <ac:spMkLst>
            <pc:docMk/>
            <pc:sldMk cId="24899032" sldId="338"/>
            <ac:spMk id="30" creationId="{644D346C-8E11-1BE8-2779-51082E49E85E}"/>
          </ac:spMkLst>
        </pc:spChg>
        <pc:spChg chg="del mod">
          <ac:chgData name="CHEN JINGSI" userId="2c6a6994-749a-46da-a9cf-6c6b6bb4c573" providerId="ADAL" clId="{AF9FF4B5-C0CB-AE41-A71D-39792613AE17}" dt="2023-05-08T19:35:03.177" v="1037" actId="478"/>
          <ac:spMkLst>
            <pc:docMk/>
            <pc:sldMk cId="24899032" sldId="338"/>
            <ac:spMk id="31" creationId="{9000EC6B-4A17-78F7-DB64-8A074C4F6EBD}"/>
          </ac:spMkLst>
        </pc:spChg>
        <pc:spChg chg="mod">
          <ac:chgData name="CHEN JINGSI" userId="2c6a6994-749a-46da-a9cf-6c6b6bb4c573" providerId="ADAL" clId="{AF9FF4B5-C0CB-AE41-A71D-39792613AE17}" dt="2023-05-08T19:45:44.164" v="1163" actId="20577"/>
          <ac:spMkLst>
            <pc:docMk/>
            <pc:sldMk cId="24899032" sldId="338"/>
            <ac:spMk id="32" creationId="{8C711EA6-D4F4-CAAE-ACED-9E21066BB77C}"/>
          </ac:spMkLst>
        </pc:spChg>
        <pc:spChg chg="mod">
          <ac:chgData name="CHEN JINGSI" userId="2c6a6994-749a-46da-a9cf-6c6b6bb4c573" providerId="ADAL" clId="{AF9FF4B5-C0CB-AE41-A71D-39792613AE17}" dt="2023-05-08T19:47:02.959" v="1182" actId="20577"/>
          <ac:spMkLst>
            <pc:docMk/>
            <pc:sldMk cId="24899032" sldId="338"/>
            <ac:spMk id="33" creationId="{4FECA5D3-E5BA-727B-2F80-BE21A790464D}"/>
          </ac:spMkLst>
        </pc:spChg>
        <pc:spChg chg="mod">
          <ac:chgData name="CHEN JINGSI" userId="2c6a6994-749a-46da-a9cf-6c6b6bb4c573" providerId="ADAL" clId="{AF9FF4B5-C0CB-AE41-A71D-39792613AE17}" dt="2023-05-08T19:45:49.271" v="1164" actId="21"/>
          <ac:spMkLst>
            <pc:docMk/>
            <pc:sldMk cId="24899032" sldId="338"/>
            <ac:spMk id="34" creationId="{C1601AC1-9FA9-BD1E-EF96-6D1894948179}"/>
          </ac:spMkLst>
        </pc:spChg>
        <pc:spChg chg="del mod">
          <ac:chgData name="CHEN JINGSI" userId="2c6a6994-749a-46da-a9cf-6c6b6bb4c573" providerId="ADAL" clId="{AF9FF4B5-C0CB-AE41-A71D-39792613AE17}" dt="2023-05-08T19:35:33.989" v="1043" actId="478"/>
          <ac:spMkLst>
            <pc:docMk/>
            <pc:sldMk cId="24899032" sldId="338"/>
            <ac:spMk id="35" creationId="{BBA974B3-B734-DE5C-35FF-1303F54F2D67}"/>
          </ac:spMkLst>
        </pc:spChg>
        <pc:spChg chg="del mod">
          <ac:chgData name="CHEN JINGSI" userId="2c6a6994-749a-46da-a9cf-6c6b6bb4c573" providerId="ADAL" clId="{AF9FF4B5-C0CB-AE41-A71D-39792613AE17}" dt="2023-05-08T19:35:28.174" v="1042" actId="478"/>
          <ac:spMkLst>
            <pc:docMk/>
            <pc:sldMk cId="24899032" sldId="338"/>
            <ac:spMk id="36" creationId="{6237EEB7-E3CA-5EDA-BCD5-AB2523F3CFB6}"/>
          </ac:spMkLst>
        </pc:spChg>
        <pc:spChg chg="del mod">
          <ac:chgData name="CHEN JINGSI" userId="2c6a6994-749a-46da-a9cf-6c6b6bb4c573" providerId="ADAL" clId="{AF9FF4B5-C0CB-AE41-A71D-39792613AE17}" dt="2023-05-08T19:35:25.179" v="1041" actId="478"/>
          <ac:spMkLst>
            <pc:docMk/>
            <pc:sldMk cId="24899032" sldId="338"/>
            <ac:spMk id="37" creationId="{8EDB5049-75A3-A17D-6F9F-B14C020E218A}"/>
          </ac:spMkLst>
        </pc:spChg>
        <pc:spChg chg="del mod">
          <ac:chgData name="CHEN JINGSI" userId="2c6a6994-749a-46da-a9cf-6c6b6bb4c573" providerId="ADAL" clId="{AF9FF4B5-C0CB-AE41-A71D-39792613AE17}" dt="2023-05-08T19:35:38.723" v="1046" actId="478"/>
          <ac:spMkLst>
            <pc:docMk/>
            <pc:sldMk cId="24899032" sldId="338"/>
            <ac:spMk id="38" creationId="{6080604B-C1E1-5347-AD77-BEF072FC63ED}"/>
          </ac:spMkLst>
        </pc:spChg>
        <pc:spChg chg="add mod">
          <ac:chgData name="CHEN JINGSI" userId="2c6a6994-749a-46da-a9cf-6c6b6bb4c573" providerId="ADAL" clId="{AF9FF4B5-C0CB-AE41-A71D-39792613AE17}" dt="2023-05-08T19:45:55.278" v="1167" actId="21"/>
          <ac:spMkLst>
            <pc:docMk/>
            <pc:sldMk cId="24899032" sldId="338"/>
            <ac:spMk id="40" creationId="{C9E1D60A-A28C-AE66-FADB-380ECAEB47A3}"/>
          </ac:spMkLst>
        </pc:spChg>
        <pc:spChg chg="add mod">
          <ac:chgData name="CHEN JINGSI" userId="2c6a6994-749a-46da-a9cf-6c6b6bb4c573" providerId="ADAL" clId="{AF9FF4B5-C0CB-AE41-A71D-39792613AE17}" dt="2023-05-08T19:48:32.366" v="1190" actId="20577"/>
          <ac:spMkLst>
            <pc:docMk/>
            <pc:sldMk cId="24899032" sldId="338"/>
            <ac:spMk id="42" creationId="{940D8ECE-FD86-6788-66A0-DCCC250B835C}"/>
          </ac:spMkLst>
        </pc:spChg>
        <pc:spChg chg="add mod">
          <ac:chgData name="CHEN JINGSI" userId="2c6a6994-749a-46da-a9cf-6c6b6bb4c573" providerId="ADAL" clId="{AF9FF4B5-C0CB-AE41-A71D-39792613AE17}" dt="2023-05-08T19:47:34.438" v="1184" actId="1076"/>
          <ac:spMkLst>
            <pc:docMk/>
            <pc:sldMk cId="24899032" sldId="338"/>
            <ac:spMk id="43" creationId="{C3391B28-5B9E-2AE1-52B0-B18B14266ACB}"/>
          </ac:spMkLst>
        </pc:spChg>
        <pc:grpChg chg="add mod">
          <ac:chgData name="CHEN JINGSI" userId="2c6a6994-749a-46da-a9cf-6c6b6bb4c573" providerId="ADAL" clId="{AF9FF4B5-C0CB-AE41-A71D-39792613AE17}" dt="2023-05-08T17:18:36.455" v="189"/>
          <ac:grpSpMkLst>
            <pc:docMk/>
            <pc:sldMk cId="24899032" sldId="338"/>
            <ac:grpSpMk id="13" creationId="{4E0FF7C6-F0CE-E9AB-4367-A3A2364414E4}"/>
          </ac:grpSpMkLst>
        </pc:grpChg>
        <pc:grpChg chg="add del mod">
          <ac:chgData name="CHEN JINGSI" userId="2c6a6994-749a-46da-a9cf-6c6b6bb4c573" providerId="ADAL" clId="{AF9FF4B5-C0CB-AE41-A71D-39792613AE17}" dt="2023-05-08T19:45:44.164" v="1163" actId="20577"/>
          <ac:grpSpMkLst>
            <pc:docMk/>
            <pc:sldMk cId="24899032" sldId="338"/>
            <ac:grpSpMk id="26" creationId="{B1D181CC-764B-FE69-969D-364EBB641E7E}"/>
          </ac:grpSpMkLst>
        </pc:grpChg>
        <pc:grpChg chg="del mod">
          <ac:chgData name="CHEN JINGSI" userId="2c6a6994-749a-46da-a9cf-6c6b6bb4c573" providerId="ADAL" clId="{AF9FF4B5-C0CB-AE41-A71D-39792613AE17}" dt="2023-05-08T19:35:38.723" v="1046" actId="478"/>
          <ac:grpSpMkLst>
            <pc:docMk/>
            <pc:sldMk cId="24899032" sldId="338"/>
            <ac:grpSpMk id="27" creationId="{69FCD202-C8CA-9F9E-256C-DA1C594659A2}"/>
          </ac:grpSpMkLst>
        </pc:grpChg>
        <pc:picChg chg="del">
          <ac:chgData name="CHEN JINGSI" userId="2c6a6994-749a-46da-a9cf-6c6b6bb4c573" providerId="ADAL" clId="{AF9FF4B5-C0CB-AE41-A71D-39792613AE17}" dt="2023-05-08T16:55:04.252" v="82" actId="478"/>
          <ac:picMkLst>
            <pc:docMk/>
            <pc:sldMk cId="24899032" sldId="338"/>
            <ac:picMk id="10" creationId="{4935A675-210E-8737-EF37-4C29AB8C7494}"/>
          </ac:picMkLst>
        </pc:picChg>
        <pc:picChg chg="add mod">
          <ac:chgData name="CHEN JINGSI" userId="2c6a6994-749a-46da-a9cf-6c6b6bb4c573" providerId="ADAL" clId="{AF9FF4B5-C0CB-AE41-A71D-39792613AE17}" dt="2023-05-08T19:46:03.132" v="1170" actId="1076"/>
          <ac:picMkLst>
            <pc:docMk/>
            <pc:sldMk cId="24899032" sldId="338"/>
            <ac:picMk id="11" creationId="{3D218603-B7BB-E43D-30FD-6AF53E302303}"/>
          </ac:picMkLst>
        </pc:picChg>
        <pc:picChg chg="del">
          <ac:chgData name="CHEN JINGSI" userId="2c6a6994-749a-46da-a9cf-6c6b6bb4c573" providerId="ADAL" clId="{AF9FF4B5-C0CB-AE41-A71D-39792613AE17}" dt="2023-05-08T17:18:34.432" v="187" actId="478"/>
          <ac:picMkLst>
            <pc:docMk/>
            <pc:sldMk cId="24899032" sldId="338"/>
            <ac:picMk id="1027" creationId="{BF4E4BBE-39DF-BD22-9022-9D98AC7A9891}"/>
          </ac:picMkLst>
        </pc:picChg>
      </pc:sldChg>
      <pc:sldChg chg="del">
        <pc:chgData name="CHEN JINGSI" userId="2c6a6994-749a-46da-a9cf-6c6b6bb4c573" providerId="ADAL" clId="{AF9FF4B5-C0CB-AE41-A71D-39792613AE17}" dt="2023-05-08T18:23:28.614" v="1016" actId="2696"/>
        <pc:sldMkLst>
          <pc:docMk/>
          <pc:sldMk cId="1676410670" sldId="341"/>
        </pc:sldMkLst>
      </pc:sldChg>
      <pc:sldChg chg="addSp delSp modSp mod">
        <pc:chgData name="CHEN JINGSI" userId="2c6a6994-749a-46da-a9cf-6c6b6bb4c573" providerId="ADAL" clId="{AF9FF4B5-C0CB-AE41-A71D-39792613AE17}" dt="2023-05-08T17:24:44.503" v="249" actId="20577"/>
        <pc:sldMkLst>
          <pc:docMk/>
          <pc:sldMk cId="2933125713" sldId="352"/>
        </pc:sldMkLst>
        <pc:spChg chg="del">
          <ac:chgData name="CHEN JINGSI" userId="2c6a6994-749a-46da-a9cf-6c6b6bb4c573" providerId="ADAL" clId="{AF9FF4B5-C0CB-AE41-A71D-39792613AE17}" dt="2023-05-08T17:19:14.164" v="195" actId="478"/>
          <ac:spMkLst>
            <pc:docMk/>
            <pc:sldMk cId="2933125713" sldId="352"/>
            <ac:spMk id="5" creationId="{B3894667-DD93-BA1B-5A04-B68A79D3A23C}"/>
          </ac:spMkLst>
        </pc:spChg>
        <pc:spChg chg="del">
          <ac:chgData name="CHEN JINGSI" userId="2c6a6994-749a-46da-a9cf-6c6b6bb4c573" providerId="ADAL" clId="{AF9FF4B5-C0CB-AE41-A71D-39792613AE17}" dt="2023-05-08T17:19:15.156" v="196" actId="478"/>
          <ac:spMkLst>
            <pc:docMk/>
            <pc:sldMk cId="2933125713" sldId="352"/>
            <ac:spMk id="6" creationId="{87D10F91-1259-D273-DEAD-D69E55B338B8}"/>
          </ac:spMkLst>
        </pc:spChg>
        <pc:spChg chg="del">
          <ac:chgData name="CHEN JINGSI" userId="2c6a6994-749a-46da-a9cf-6c6b6bb4c573" providerId="ADAL" clId="{AF9FF4B5-C0CB-AE41-A71D-39792613AE17}" dt="2023-05-08T17:19:16.482" v="197" actId="478"/>
          <ac:spMkLst>
            <pc:docMk/>
            <pc:sldMk cId="2933125713" sldId="352"/>
            <ac:spMk id="7" creationId="{374EE802-F62D-0ABF-6FB1-FE3CE2FA0287}"/>
          </ac:spMkLst>
        </pc:spChg>
        <pc:spChg chg="del">
          <ac:chgData name="CHEN JINGSI" userId="2c6a6994-749a-46da-a9cf-6c6b6bb4c573" providerId="ADAL" clId="{AF9FF4B5-C0CB-AE41-A71D-39792613AE17}" dt="2023-05-08T17:19:13.289" v="194" actId="478"/>
          <ac:spMkLst>
            <pc:docMk/>
            <pc:sldMk cId="2933125713" sldId="352"/>
            <ac:spMk id="9" creationId="{11D82356-9A12-638A-3EDF-95199E10F17F}"/>
          </ac:spMkLst>
        </pc:spChg>
        <pc:spChg chg="mod">
          <ac:chgData name="CHEN JINGSI" userId="2c6a6994-749a-46da-a9cf-6c6b6bb4c573" providerId="ADAL" clId="{AF9FF4B5-C0CB-AE41-A71D-39792613AE17}" dt="2023-05-08T17:18:52.621" v="193"/>
          <ac:spMkLst>
            <pc:docMk/>
            <pc:sldMk cId="2933125713" sldId="352"/>
            <ac:spMk id="12" creationId="{3D10514A-7371-8AD3-6C82-1469E23CFB75}"/>
          </ac:spMkLst>
        </pc:spChg>
        <pc:spChg chg="mod">
          <ac:chgData name="CHEN JINGSI" userId="2c6a6994-749a-46da-a9cf-6c6b6bb4c573" providerId="ADAL" clId="{AF9FF4B5-C0CB-AE41-A71D-39792613AE17}" dt="2023-05-08T17:24:44.503" v="249" actId="20577"/>
          <ac:spMkLst>
            <pc:docMk/>
            <pc:sldMk cId="2933125713" sldId="352"/>
            <ac:spMk id="13" creationId="{D63B1E87-2B8B-688E-6902-40E1030CE8A9}"/>
          </ac:spMkLst>
        </pc:spChg>
        <pc:spChg chg="mod">
          <ac:chgData name="CHEN JINGSI" userId="2c6a6994-749a-46da-a9cf-6c6b6bb4c573" providerId="ADAL" clId="{AF9FF4B5-C0CB-AE41-A71D-39792613AE17}" dt="2023-05-08T17:18:52.621" v="193"/>
          <ac:spMkLst>
            <pc:docMk/>
            <pc:sldMk cId="2933125713" sldId="352"/>
            <ac:spMk id="14" creationId="{F3B98C6F-F6BE-CF9E-344E-3927A52DCB57}"/>
          </ac:spMkLst>
        </pc:spChg>
        <pc:spChg chg="mod">
          <ac:chgData name="CHEN JINGSI" userId="2c6a6994-749a-46da-a9cf-6c6b6bb4c573" providerId="ADAL" clId="{AF9FF4B5-C0CB-AE41-A71D-39792613AE17}" dt="2023-05-08T17:18:52.621" v="193"/>
          <ac:spMkLst>
            <pc:docMk/>
            <pc:sldMk cId="2933125713" sldId="352"/>
            <ac:spMk id="15" creationId="{40EE3100-FA61-1FB5-F038-AA1275CC41A8}"/>
          </ac:spMkLst>
        </pc:spChg>
        <pc:spChg chg="mod">
          <ac:chgData name="CHEN JINGSI" userId="2c6a6994-749a-46da-a9cf-6c6b6bb4c573" providerId="ADAL" clId="{AF9FF4B5-C0CB-AE41-A71D-39792613AE17}" dt="2023-05-08T17:18:52.621" v="193"/>
          <ac:spMkLst>
            <pc:docMk/>
            <pc:sldMk cId="2933125713" sldId="352"/>
            <ac:spMk id="16" creationId="{6DC723E8-DBA6-FCA1-6756-4314D3182F82}"/>
          </ac:spMkLst>
        </pc:spChg>
        <pc:spChg chg="mod">
          <ac:chgData name="CHEN JINGSI" userId="2c6a6994-749a-46da-a9cf-6c6b6bb4c573" providerId="ADAL" clId="{AF9FF4B5-C0CB-AE41-A71D-39792613AE17}" dt="2023-05-08T17:20:35.629" v="210" actId="207"/>
          <ac:spMkLst>
            <pc:docMk/>
            <pc:sldMk cId="2933125713" sldId="352"/>
            <ac:spMk id="25" creationId="{C71552A4-6B22-899A-7EA2-39CBBCC7F79B}"/>
          </ac:spMkLst>
        </pc:spChg>
        <pc:spChg chg="mod">
          <ac:chgData name="CHEN JINGSI" userId="2c6a6994-749a-46da-a9cf-6c6b6bb4c573" providerId="ADAL" clId="{AF9FF4B5-C0CB-AE41-A71D-39792613AE17}" dt="2023-05-08T17:18:52.621" v="193"/>
          <ac:spMkLst>
            <pc:docMk/>
            <pc:sldMk cId="2933125713" sldId="352"/>
            <ac:spMk id="26" creationId="{F175DFE9-AA77-CDC7-8634-DC90BCBAF7CA}"/>
          </ac:spMkLst>
        </pc:spChg>
        <pc:spChg chg="mod">
          <ac:chgData name="CHEN JINGSI" userId="2c6a6994-749a-46da-a9cf-6c6b6bb4c573" providerId="ADAL" clId="{AF9FF4B5-C0CB-AE41-A71D-39792613AE17}" dt="2023-05-08T17:18:52.621" v="193"/>
          <ac:spMkLst>
            <pc:docMk/>
            <pc:sldMk cId="2933125713" sldId="352"/>
            <ac:spMk id="27" creationId="{A32DB7B6-36EA-F1F4-0F51-B50EA5056D74}"/>
          </ac:spMkLst>
        </pc:spChg>
        <pc:spChg chg="mod">
          <ac:chgData name="CHEN JINGSI" userId="2c6a6994-749a-46da-a9cf-6c6b6bb4c573" providerId="ADAL" clId="{AF9FF4B5-C0CB-AE41-A71D-39792613AE17}" dt="2023-05-08T17:24:40.051" v="245"/>
          <ac:spMkLst>
            <pc:docMk/>
            <pc:sldMk cId="2933125713" sldId="352"/>
            <ac:spMk id="28" creationId="{7720DE1E-2C05-D4B1-3594-6D5111243BC6}"/>
          </ac:spMkLst>
        </pc:spChg>
        <pc:spChg chg="mod">
          <ac:chgData name="CHEN JINGSI" userId="2c6a6994-749a-46da-a9cf-6c6b6bb4c573" providerId="ADAL" clId="{AF9FF4B5-C0CB-AE41-A71D-39792613AE17}" dt="2023-05-08T17:18:52.621" v="193"/>
          <ac:spMkLst>
            <pc:docMk/>
            <pc:sldMk cId="2933125713" sldId="352"/>
            <ac:spMk id="29" creationId="{CBD73270-E8AC-3F02-86E1-FF0903239C6D}"/>
          </ac:spMkLst>
        </pc:spChg>
        <pc:spChg chg="mod">
          <ac:chgData name="CHEN JINGSI" userId="2c6a6994-749a-46da-a9cf-6c6b6bb4c573" providerId="ADAL" clId="{AF9FF4B5-C0CB-AE41-A71D-39792613AE17}" dt="2023-05-08T17:18:52.621" v="193"/>
          <ac:spMkLst>
            <pc:docMk/>
            <pc:sldMk cId="2933125713" sldId="352"/>
            <ac:spMk id="30" creationId="{7D35875D-9555-F2D4-155C-E7A105F2402A}"/>
          </ac:spMkLst>
        </pc:spChg>
        <pc:spChg chg="mod">
          <ac:chgData name="CHEN JINGSI" userId="2c6a6994-749a-46da-a9cf-6c6b6bb4c573" providerId="ADAL" clId="{AF9FF4B5-C0CB-AE41-A71D-39792613AE17}" dt="2023-05-08T17:18:52.621" v="193"/>
          <ac:spMkLst>
            <pc:docMk/>
            <pc:sldMk cId="2933125713" sldId="352"/>
            <ac:spMk id="31" creationId="{5E0CD1FB-AA91-82B0-9233-FE9A397BC974}"/>
          </ac:spMkLst>
        </pc:spChg>
        <pc:grpChg chg="add mod">
          <ac:chgData name="CHEN JINGSI" userId="2c6a6994-749a-46da-a9cf-6c6b6bb4c573" providerId="ADAL" clId="{AF9FF4B5-C0CB-AE41-A71D-39792613AE17}" dt="2023-05-08T17:18:52.621" v="193"/>
          <ac:grpSpMkLst>
            <pc:docMk/>
            <pc:sldMk cId="2933125713" sldId="352"/>
            <ac:grpSpMk id="10" creationId="{A1041C50-83F4-BF33-40D0-9BDEEDAC5CF4}"/>
          </ac:grpSpMkLst>
        </pc:grpChg>
        <pc:grpChg chg="del">
          <ac:chgData name="CHEN JINGSI" userId="2c6a6994-749a-46da-a9cf-6c6b6bb4c573" providerId="ADAL" clId="{AF9FF4B5-C0CB-AE41-A71D-39792613AE17}" dt="2023-05-08T17:18:51.473" v="192" actId="478"/>
          <ac:grpSpMkLst>
            <pc:docMk/>
            <pc:sldMk cId="2933125713" sldId="352"/>
            <ac:grpSpMk id="17" creationId="{89939196-28A1-DA5C-6324-217641584DD1}"/>
          </ac:grpSpMkLst>
        </pc:grpChg>
      </pc:sldChg>
      <pc:sldChg chg="addSp delSp modSp add mod">
        <pc:chgData name="CHEN JINGSI" userId="2c6a6994-749a-46da-a9cf-6c6b6bb4c573" providerId="ADAL" clId="{AF9FF4B5-C0CB-AE41-A71D-39792613AE17}" dt="2023-05-05T14:07:38.711" v="12" actId="2711"/>
        <pc:sldMkLst>
          <pc:docMk/>
          <pc:sldMk cId="2483509572" sldId="353"/>
        </pc:sldMkLst>
        <pc:spChg chg="mod">
          <ac:chgData name="CHEN JINGSI" userId="2c6a6994-749a-46da-a9cf-6c6b6bb4c573" providerId="ADAL" clId="{AF9FF4B5-C0CB-AE41-A71D-39792613AE17}" dt="2023-05-05T14:06:53.323" v="4" actId="255"/>
          <ac:spMkLst>
            <pc:docMk/>
            <pc:sldMk cId="2483509572" sldId="353"/>
            <ac:spMk id="7" creationId="{6F5BA6FF-DEDF-11BD-5EF9-99442F9EEDBE}"/>
          </ac:spMkLst>
        </pc:spChg>
        <pc:spChg chg="mod">
          <ac:chgData name="CHEN JINGSI" userId="2c6a6994-749a-46da-a9cf-6c6b6bb4c573" providerId="ADAL" clId="{AF9FF4B5-C0CB-AE41-A71D-39792613AE17}" dt="2023-05-05T14:06:53.323" v="4" actId="255"/>
          <ac:spMkLst>
            <pc:docMk/>
            <pc:sldMk cId="2483509572" sldId="353"/>
            <ac:spMk id="8" creationId="{C7805EDE-2CDA-4683-94D1-5C6C803B2AFC}"/>
          </ac:spMkLst>
        </pc:spChg>
        <pc:spChg chg="mod">
          <ac:chgData name="CHEN JINGSI" userId="2c6a6994-749a-46da-a9cf-6c6b6bb4c573" providerId="ADAL" clId="{AF9FF4B5-C0CB-AE41-A71D-39792613AE17}" dt="2023-05-05T14:06:53.323" v="4" actId="255"/>
          <ac:spMkLst>
            <pc:docMk/>
            <pc:sldMk cId="2483509572" sldId="353"/>
            <ac:spMk id="13" creationId="{91BB2B49-A0FB-5CA7-2A8A-E2E9889EDB23}"/>
          </ac:spMkLst>
        </pc:spChg>
        <pc:spChg chg="mod">
          <ac:chgData name="CHEN JINGSI" userId="2c6a6994-749a-46da-a9cf-6c6b6bb4c573" providerId="ADAL" clId="{AF9FF4B5-C0CB-AE41-A71D-39792613AE17}" dt="2023-05-05T14:06:53.323" v="4" actId="255"/>
          <ac:spMkLst>
            <pc:docMk/>
            <pc:sldMk cId="2483509572" sldId="353"/>
            <ac:spMk id="14" creationId="{864749C1-3D2F-2FCC-516B-43D4B1C37E3B}"/>
          </ac:spMkLst>
        </pc:spChg>
        <pc:spChg chg="mod">
          <ac:chgData name="CHEN JINGSI" userId="2c6a6994-749a-46da-a9cf-6c6b6bb4c573" providerId="ADAL" clId="{AF9FF4B5-C0CB-AE41-A71D-39792613AE17}" dt="2023-05-05T14:06:38.704" v="2"/>
          <ac:spMkLst>
            <pc:docMk/>
            <pc:sldMk cId="2483509572" sldId="353"/>
            <ac:spMk id="15" creationId="{7E12E8AB-798C-A073-BCA6-2C5A739B378C}"/>
          </ac:spMkLst>
        </pc:spChg>
        <pc:spChg chg="mod">
          <ac:chgData name="CHEN JINGSI" userId="2c6a6994-749a-46da-a9cf-6c6b6bb4c573" providerId="ADAL" clId="{AF9FF4B5-C0CB-AE41-A71D-39792613AE17}" dt="2023-05-05T14:06:53.323" v="4" actId="255"/>
          <ac:spMkLst>
            <pc:docMk/>
            <pc:sldMk cId="2483509572" sldId="353"/>
            <ac:spMk id="16" creationId="{332233EC-D658-0E6E-0814-2E7C1297AB05}"/>
          </ac:spMkLst>
        </pc:spChg>
        <pc:spChg chg="mod">
          <ac:chgData name="CHEN JINGSI" userId="2c6a6994-749a-46da-a9cf-6c6b6bb4c573" providerId="ADAL" clId="{AF9FF4B5-C0CB-AE41-A71D-39792613AE17}" dt="2023-05-05T14:06:53.323" v="4" actId="255"/>
          <ac:spMkLst>
            <pc:docMk/>
            <pc:sldMk cId="2483509572" sldId="353"/>
            <ac:spMk id="17" creationId="{1204C667-E459-1351-BB95-1C2F40AA0733}"/>
          </ac:spMkLst>
        </pc:spChg>
        <pc:spChg chg="mod">
          <ac:chgData name="CHEN JINGSI" userId="2c6a6994-749a-46da-a9cf-6c6b6bb4c573" providerId="ADAL" clId="{AF9FF4B5-C0CB-AE41-A71D-39792613AE17}" dt="2023-05-05T14:06:53.323" v="4" actId="255"/>
          <ac:spMkLst>
            <pc:docMk/>
            <pc:sldMk cId="2483509572" sldId="353"/>
            <ac:spMk id="18" creationId="{7223821C-E627-91A8-EC7A-9E394A522527}"/>
          </ac:spMkLst>
        </pc:spChg>
        <pc:spChg chg="mod">
          <ac:chgData name="CHEN JINGSI" userId="2c6a6994-749a-46da-a9cf-6c6b6bb4c573" providerId="ADAL" clId="{AF9FF4B5-C0CB-AE41-A71D-39792613AE17}" dt="2023-05-05T14:06:38.704" v="2"/>
          <ac:spMkLst>
            <pc:docMk/>
            <pc:sldMk cId="2483509572" sldId="353"/>
            <ac:spMk id="19" creationId="{CC1A68BA-B5BB-0766-DF0C-904C4523F0A0}"/>
          </ac:spMkLst>
        </pc:spChg>
        <pc:spChg chg="mod">
          <ac:chgData name="CHEN JINGSI" userId="2c6a6994-749a-46da-a9cf-6c6b6bb4c573" providerId="ADAL" clId="{AF9FF4B5-C0CB-AE41-A71D-39792613AE17}" dt="2023-05-05T14:06:53.323" v="4" actId="255"/>
          <ac:spMkLst>
            <pc:docMk/>
            <pc:sldMk cId="2483509572" sldId="353"/>
            <ac:spMk id="20" creationId="{7C0B7B6D-C302-AE64-DA61-2CD76C527D34}"/>
          </ac:spMkLst>
        </pc:spChg>
        <pc:spChg chg="mod">
          <ac:chgData name="CHEN JINGSI" userId="2c6a6994-749a-46da-a9cf-6c6b6bb4c573" providerId="ADAL" clId="{AF9FF4B5-C0CB-AE41-A71D-39792613AE17}" dt="2023-05-05T14:06:53.323" v="4" actId="255"/>
          <ac:spMkLst>
            <pc:docMk/>
            <pc:sldMk cId="2483509572" sldId="353"/>
            <ac:spMk id="21" creationId="{80ED32CB-A50B-D44D-B608-4C27E6CE475D}"/>
          </ac:spMkLst>
        </pc:spChg>
        <pc:spChg chg="mod">
          <ac:chgData name="CHEN JINGSI" userId="2c6a6994-749a-46da-a9cf-6c6b6bb4c573" providerId="ADAL" clId="{AF9FF4B5-C0CB-AE41-A71D-39792613AE17}" dt="2023-05-05T14:06:53.323" v="4" actId="255"/>
          <ac:spMkLst>
            <pc:docMk/>
            <pc:sldMk cId="2483509572" sldId="353"/>
            <ac:spMk id="22" creationId="{86B2AE22-9117-1771-3ED3-272B06710B19}"/>
          </ac:spMkLst>
        </pc:spChg>
        <pc:spChg chg="mod">
          <ac:chgData name="CHEN JINGSI" userId="2c6a6994-749a-46da-a9cf-6c6b6bb4c573" providerId="ADAL" clId="{AF9FF4B5-C0CB-AE41-A71D-39792613AE17}" dt="2023-05-05T14:06:53.323" v="4" actId="255"/>
          <ac:spMkLst>
            <pc:docMk/>
            <pc:sldMk cId="2483509572" sldId="353"/>
            <ac:spMk id="23" creationId="{47CDCE5F-4231-94FF-52BA-0F49F79CA6DA}"/>
          </ac:spMkLst>
        </pc:spChg>
        <pc:spChg chg="mod">
          <ac:chgData name="CHEN JINGSI" userId="2c6a6994-749a-46da-a9cf-6c6b6bb4c573" providerId="ADAL" clId="{AF9FF4B5-C0CB-AE41-A71D-39792613AE17}" dt="2023-05-05T14:06:53.323" v="4" actId="255"/>
          <ac:spMkLst>
            <pc:docMk/>
            <pc:sldMk cId="2483509572" sldId="353"/>
            <ac:spMk id="24" creationId="{761CD4DF-4A91-7461-2372-0D4911618E9E}"/>
          </ac:spMkLst>
        </pc:spChg>
        <pc:spChg chg="mod">
          <ac:chgData name="CHEN JINGSI" userId="2c6a6994-749a-46da-a9cf-6c6b6bb4c573" providerId="ADAL" clId="{AF9FF4B5-C0CB-AE41-A71D-39792613AE17}" dt="2023-05-05T14:06:53.323" v="4" actId="255"/>
          <ac:spMkLst>
            <pc:docMk/>
            <pc:sldMk cId="2483509572" sldId="353"/>
            <ac:spMk id="25" creationId="{13560560-5CEA-FD05-4B76-769F20E8117A}"/>
          </ac:spMkLst>
        </pc:spChg>
        <pc:spChg chg="mod">
          <ac:chgData name="CHEN JINGSI" userId="2c6a6994-749a-46da-a9cf-6c6b6bb4c573" providerId="ADAL" clId="{AF9FF4B5-C0CB-AE41-A71D-39792613AE17}" dt="2023-05-05T14:06:53.323" v="4" actId="255"/>
          <ac:spMkLst>
            <pc:docMk/>
            <pc:sldMk cId="2483509572" sldId="353"/>
            <ac:spMk id="26" creationId="{4848F30E-8E86-ED13-78AE-449F85085BB3}"/>
          </ac:spMkLst>
        </pc:spChg>
        <pc:spChg chg="mod">
          <ac:chgData name="CHEN JINGSI" userId="2c6a6994-749a-46da-a9cf-6c6b6bb4c573" providerId="ADAL" clId="{AF9FF4B5-C0CB-AE41-A71D-39792613AE17}" dt="2023-05-05T14:06:53.323" v="4" actId="255"/>
          <ac:spMkLst>
            <pc:docMk/>
            <pc:sldMk cId="2483509572" sldId="353"/>
            <ac:spMk id="27" creationId="{5A59FC02-180D-1906-98A5-74C77FE26671}"/>
          </ac:spMkLst>
        </pc:spChg>
        <pc:spChg chg="mod">
          <ac:chgData name="CHEN JINGSI" userId="2c6a6994-749a-46da-a9cf-6c6b6bb4c573" providerId="ADAL" clId="{AF9FF4B5-C0CB-AE41-A71D-39792613AE17}" dt="2023-05-05T14:06:53.323" v="4" actId="255"/>
          <ac:spMkLst>
            <pc:docMk/>
            <pc:sldMk cId="2483509572" sldId="353"/>
            <ac:spMk id="28" creationId="{7C2D2B26-09FA-CF40-9B66-09D9FA9C6AC7}"/>
          </ac:spMkLst>
        </pc:spChg>
        <pc:spChg chg="mod">
          <ac:chgData name="CHEN JINGSI" userId="2c6a6994-749a-46da-a9cf-6c6b6bb4c573" providerId="ADAL" clId="{AF9FF4B5-C0CB-AE41-A71D-39792613AE17}" dt="2023-05-05T14:06:53.323" v="4" actId="255"/>
          <ac:spMkLst>
            <pc:docMk/>
            <pc:sldMk cId="2483509572" sldId="353"/>
            <ac:spMk id="29" creationId="{17F6768C-6E57-D50A-1ECF-27E27E52CD6C}"/>
          </ac:spMkLst>
        </pc:spChg>
        <pc:spChg chg="mod">
          <ac:chgData name="CHEN JINGSI" userId="2c6a6994-749a-46da-a9cf-6c6b6bb4c573" providerId="ADAL" clId="{AF9FF4B5-C0CB-AE41-A71D-39792613AE17}" dt="2023-05-05T14:06:53.323" v="4" actId="255"/>
          <ac:spMkLst>
            <pc:docMk/>
            <pc:sldMk cId="2483509572" sldId="353"/>
            <ac:spMk id="30" creationId="{C244B868-0D5E-FF65-B2F2-375627C77748}"/>
          </ac:spMkLst>
        </pc:spChg>
        <pc:spChg chg="mod">
          <ac:chgData name="CHEN JINGSI" userId="2c6a6994-749a-46da-a9cf-6c6b6bb4c573" providerId="ADAL" clId="{AF9FF4B5-C0CB-AE41-A71D-39792613AE17}" dt="2023-05-05T14:06:53.323" v="4" actId="255"/>
          <ac:spMkLst>
            <pc:docMk/>
            <pc:sldMk cId="2483509572" sldId="353"/>
            <ac:spMk id="31" creationId="{BDE2468B-E777-6A71-0071-C6EEF7541D4A}"/>
          </ac:spMkLst>
        </pc:spChg>
        <pc:spChg chg="mod">
          <ac:chgData name="CHEN JINGSI" userId="2c6a6994-749a-46da-a9cf-6c6b6bb4c573" providerId="ADAL" clId="{AF9FF4B5-C0CB-AE41-A71D-39792613AE17}" dt="2023-05-05T14:06:53.323" v="4" actId="255"/>
          <ac:spMkLst>
            <pc:docMk/>
            <pc:sldMk cId="2483509572" sldId="353"/>
            <ac:spMk id="32" creationId="{6B7882E7-F11E-3E74-AE72-B418E79847D5}"/>
          </ac:spMkLst>
        </pc:spChg>
        <pc:spChg chg="mod">
          <ac:chgData name="CHEN JINGSI" userId="2c6a6994-749a-46da-a9cf-6c6b6bb4c573" providerId="ADAL" clId="{AF9FF4B5-C0CB-AE41-A71D-39792613AE17}" dt="2023-05-05T14:06:38.704" v="2"/>
          <ac:spMkLst>
            <pc:docMk/>
            <pc:sldMk cId="2483509572" sldId="353"/>
            <ac:spMk id="33" creationId="{22E6C924-F939-7274-2DFD-D87F6546242E}"/>
          </ac:spMkLst>
        </pc:spChg>
        <pc:spChg chg="mod">
          <ac:chgData name="CHEN JINGSI" userId="2c6a6994-749a-46da-a9cf-6c6b6bb4c573" providerId="ADAL" clId="{AF9FF4B5-C0CB-AE41-A71D-39792613AE17}" dt="2023-05-05T14:06:53.323" v="4" actId="255"/>
          <ac:spMkLst>
            <pc:docMk/>
            <pc:sldMk cId="2483509572" sldId="353"/>
            <ac:spMk id="34" creationId="{59FD256E-1449-F37D-0116-4AD68B590F85}"/>
          </ac:spMkLst>
        </pc:spChg>
        <pc:spChg chg="mod">
          <ac:chgData name="CHEN JINGSI" userId="2c6a6994-749a-46da-a9cf-6c6b6bb4c573" providerId="ADAL" clId="{AF9FF4B5-C0CB-AE41-A71D-39792613AE17}" dt="2023-05-05T14:06:53.323" v="4" actId="255"/>
          <ac:spMkLst>
            <pc:docMk/>
            <pc:sldMk cId="2483509572" sldId="353"/>
            <ac:spMk id="35" creationId="{95E8A1D8-B9FC-2750-A456-9F3AEBFDE46E}"/>
          </ac:spMkLst>
        </pc:spChg>
        <pc:spChg chg="mod">
          <ac:chgData name="CHEN JINGSI" userId="2c6a6994-749a-46da-a9cf-6c6b6bb4c573" providerId="ADAL" clId="{AF9FF4B5-C0CB-AE41-A71D-39792613AE17}" dt="2023-05-05T14:06:53.323" v="4" actId="255"/>
          <ac:spMkLst>
            <pc:docMk/>
            <pc:sldMk cId="2483509572" sldId="353"/>
            <ac:spMk id="36" creationId="{DC9A48F7-A3BA-DD33-6F27-CFA7919A32A3}"/>
          </ac:spMkLst>
        </pc:spChg>
        <pc:spChg chg="mod">
          <ac:chgData name="CHEN JINGSI" userId="2c6a6994-749a-46da-a9cf-6c6b6bb4c573" providerId="ADAL" clId="{AF9FF4B5-C0CB-AE41-A71D-39792613AE17}" dt="2023-05-05T14:06:53.323" v="4" actId="255"/>
          <ac:spMkLst>
            <pc:docMk/>
            <pc:sldMk cId="2483509572" sldId="353"/>
            <ac:spMk id="37" creationId="{A6470270-C5FD-CB6C-15CD-49CB3F4ADD52}"/>
          </ac:spMkLst>
        </pc:spChg>
        <pc:spChg chg="mod">
          <ac:chgData name="CHEN JINGSI" userId="2c6a6994-749a-46da-a9cf-6c6b6bb4c573" providerId="ADAL" clId="{AF9FF4B5-C0CB-AE41-A71D-39792613AE17}" dt="2023-05-05T14:07:05.762" v="6"/>
          <ac:spMkLst>
            <pc:docMk/>
            <pc:sldMk cId="2483509572" sldId="353"/>
            <ac:spMk id="41" creationId="{FC60CCCA-6F13-0CF8-2746-2F05B5F0A935}"/>
          </ac:spMkLst>
        </pc:spChg>
        <pc:spChg chg="mod">
          <ac:chgData name="CHEN JINGSI" userId="2c6a6994-749a-46da-a9cf-6c6b6bb4c573" providerId="ADAL" clId="{AF9FF4B5-C0CB-AE41-A71D-39792613AE17}" dt="2023-05-05T14:07:05.762" v="6"/>
          <ac:spMkLst>
            <pc:docMk/>
            <pc:sldMk cId="2483509572" sldId="353"/>
            <ac:spMk id="42" creationId="{11666668-D822-D7EF-3E35-05FB4E7C05EF}"/>
          </ac:spMkLst>
        </pc:spChg>
        <pc:spChg chg="mod">
          <ac:chgData name="CHEN JINGSI" userId="2c6a6994-749a-46da-a9cf-6c6b6bb4c573" providerId="ADAL" clId="{AF9FF4B5-C0CB-AE41-A71D-39792613AE17}" dt="2023-05-05T14:07:05.762" v="6"/>
          <ac:spMkLst>
            <pc:docMk/>
            <pc:sldMk cId="2483509572" sldId="353"/>
            <ac:spMk id="47" creationId="{EF4B16EF-5F45-A298-21E3-B5195C2F70D7}"/>
          </ac:spMkLst>
        </pc:spChg>
        <pc:spChg chg="mod">
          <ac:chgData name="CHEN JINGSI" userId="2c6a6994-749a-46da-a9cf-6c6b6bb4c573" providerId="ADAL" clId="{AF9FF4B5-C0CB-AE41-A71D-39792613AE17}" dt="2023-05-05T14:07:05.762" v="6"/>
          <ac:spMkLst>
            <pc:docMk/>
            <pc:sldMk cId="2483509572" sldId="353"/>
            <ac:spMk id="48" creationId="{B5394598-EECD-CC95-0497-D8DC5C6E0499}"/>
          </ac:spMkLst>
        </pc:spChg>
        <pc:spChg chg="mod">
          <ac:chgData name="CHEN JINGSI" userId="2c6a6994-749a-46da-a9cf-6c6b6bb4c573" providerId="ADAL" clId="{AF9FF4B5-C0CB-AE41-A71D-39792613AE17}" dt="2023-05-05T14:07:05.762" v="6"/>
          <ac:spMkLst>
            <pc:docMk/>
            <pc:sldMk cId="2483509572" sldId="353"/>
            <ac:spMk id="49" creationId="{65A2A4DF-A330-2001-3A65-CED345332F63}"/>
          </ac:spMkLst>
        </pc:spChg>
        <pc:spChg chg="mod">
          <ac:chgData name="CHEN JINGSI" userId="2c6a6994-749a-46da-a9cf-6c6b6bb4c573" providerId="ADAL" clId="{AF9FF4B5-C0CB-AE41-A71D-39792613AE17}" dt="2023-05-05T14:07:05.762" v="6"/>
          <ac:spMkLst>
            <pc:docMk/>
            <pc:sldMk cId="2483509572" sldId="353"/>
            <ac:spMk id="50" creationId="{8F2F8447-9C85-DD62-6F6C-75C6A747D0C1}"/>
          </ac:spMkLst>
        </pc:spChg>
        <pc:spChg chg="mod">
          <ac:chgData name="CHEN JINGSI" userId="2c6a6994-749a-46da-a9cf-6c6b6bb4c573" providerId="ADAL" clId="{AF9FF4B5-C0CB-AE41-A71D-39792613AE17}" dt="2023-05-05T14:07:05.762" v="6"/>
          <ac:spMkLst>
            <pc:docMk/>
            <pc:sldMk cId="2483509572" sldId="353"/>
            <ac:spMk id="51" creationId="{0BE59546-F53E-35EB-5D28-F6CFEDD5AD9A}"/>
          </ac:spMkLst>
        </pc:spChg>
        <pc:spChg chg="mod">
          <ac:chgData name="CHEN JINGSI" userId="2c6a6994-749a-46da-a9cf-6c6b6bb4c573" providerId="ADAL" clId="{AF9FF4B5-C0CB-AE41-A71D-39792613AE17}" dt="2023-05-05T14:07:05.762" v="6"/>
          <ac:spMkLst>
            <pc:docMk/>
            <pc:sldMk cId="2483509572" sldId="353"/>
            <ac:spMk id="52" creationId="{53A41A96-A98E-C548-B22D-946F66C6D54B}"/>
          </ac:spMkLst>
        </pc:spChg>
        <pc:spChg chg="mod">
          <ac:chgData name="CHEN JINGSI" userId="2c6a6994-749a-46da-a9cf-6c6b6bb4c573" providerId="ADAL" clId="{AF9FF4B5-C0CB-AE41-A71D-39792613AE17}" dt="2023-05-05T14:07:05.762" v="6"/>
          <ac:spMkLst>
            <pc:docMk/>
            <pc:sldMk cId="2483509572" sldId="353"/>
            <ac:spMk id="53" creationId="{D79FF873-8984-278F-C06C-A586DEC16003}"/>
          </ac:spMkLst>
        </pc:spChg>
        <pc:spChg chg="mod">
          <ac:chgData name="CHEN JINGSI" userId="2c6a6994-749a-46da-a9cf-6c6b6bb4c573" providerId="ADAL" clId="{AF9FF4B5-C0CB-AE41-A71D-39792613AE17}" dt="2023-05-05T14:07:05.762" v="6"/>
          <ac:spMkLst>
            <pc:docMk/>
            <pc:sldMk cId="2483509572" sldId="353"/>
            <ac:spMk id="54" creationId="{814D936A-F2C8-4D75-A5F9-014CBB9EDAF7}"/>
          </ac:spMkLst>
        </pc:spChg>
        <pc:spChg chg="mod">
          <ac:chgData name="CHEN JINGSI" userId="2c6a6994-749a-46da-a9cf-6c6b6bb4c573" providerId="ADAL" clId="{AF9FF4B5-C0CB-AE41-A71D-39792613AE17}" dt="2023-05-05T14:07:05.762" v="6"/>
          <ac:spMkLst>
            <pc:docMk/>
            <pc:sldMk cId="2483509572" sldId="353"/>
            <ac:spMk id="55" creationId="{4A585407-FB1F-64B8-B44E-A0F07B246611}"/>
          </ac:spMkLst>
        </pc:spChg>
        <pc:spChg chg="mod">
          <ac:chgData name="CHEN JINGSI" userId="2c6a6994-749a-46da-a9cf-6c6b6bb4c573" providerId="ADAL" clId="{AF9FF4B5-C0CB-AE41-A71D-39792613AE17}" dt="2023-05-05T14:07:05.762" v="6"/>
          <ac:spMkLst>
            <pc:docMk/>
            <pc:sldMk cId="2483509572" sldId="353"/>
            <ac:spMk id="56" creationId="{5AC8526F-B6B1-4E23-8133-A405E54FF132}"/>
          </ac:spMkLst>
        </pc:spChg>
        <pc:spChg chg="mod">
          <ac:chgData name="CHEN JINGSI" userId="2c6a6994-749a-46da-a9cf-6c6b6bb4c573" providerId="ADAL" clId="{AF9FF4B5-C0CB-AE41-A71D-39792613AE17}" dt="2023-05-05T14:07:05.762" v="6"/>
          <ac:spMkLst>
            <pc:docMk/>
            <pc:sldMk cId="2483509572" sldId="353"/>
            <ac:spMk id="57" creationId="{013F0AC3-2221-DFD2-79F2-A31DCB44C4FC}"/>
          </ac:spMkLst>
        </pc:spChg>
        <pc:spChg chg="mod">
          <ac:chgData name="CHEN JINGSI" userId="2c6a6994-749a-46da-a9cf-6c6b6bb4c573" providerId="ADAL" clId="{AF9FF4B5-C0CB-AE41-A71D-39792613AE17}" dt="2023-05-05T14:07:05.762" v="6"/>
          <ac:spMkLst>
            <pc:docMk/>
            <pc:sldMk cId="2483509572" sldId="353"/>
            <ac:spMk id="58" creationId="{D73C59A6-1549-1888-6942-98207C4CE956}"/>
          </ac:spMkLst>
        </pc:spChg>
        <pc:spChg chg="mod">
          <ac:chgData name="CHEN JINGSI" userId="2c6a6994-749a-46da-a9cf-6c6b6bb4c573" providerId="ADAL" clId="{AF9FF4B5-C0CB-AE41-A71D-39792613AE17}" dt="2023-05-05T14:07:05.762" v="6"/>
          <ac:spMkLst>
            <pc:docMk/>
            <pc:sldMk cId="2483509572" sldId="353"/>
            <ac:spMk id="59" creationId="{FF562E0C-BDBB-EEED-4842-BD297557F91B}"/>
          </ac:spMkLst>
        </pc:spChg>
        <pc:spChg chg="mod">
          <ac:chgData name="CHEN JINGSI" userId="2c6a6994-749a-46da-a9cf-6c6b6bb4c573" providerId="ADAL" clId="{AF9FF4B5-C0CB-AE41-A71D-39792613AE17}" dt="2023-05-05T14:07:05.762" v="6"/>
          <ac:spMkLst>
            <pc:docMk/>
            <pc:sldMk cId="2483509572" sldId="353"/>
            <ac:spMk id="60" creationId="{913A5028-7E88-A510-9106-A31AA342C40F}"/>
          </ac:spMkLst>
        </pc:spChg>
        <pc:spChg chg="mod">
          <ac:chgData name="CHEN JINGSI" userId="2c6a6994-749a-46da-a9cf-6c6b6bb4c573" providerId="ADAL" clId="{AF9FF4B5-C0CB-AE41-A71D-39792613AE17}" dt="2023-05-05T14:07:05.762" v="6"/>
          <ac:spMkLst>
            <pc:docMk/>
            <pc:sldMk cId="2483509572" sldId="353"/>
            <ac:spMk id="61" creationId="{AABBB5EE-9263-9852-3F0F-91444D4442BC}"/>
          </ac:spMkLst>
        </pc:spChg>
        <pc:spChg chg="mod">
          <ac:chgData name="CHEN JINGSI" userId="2c6a6994-749a-46da-a9cf-6c6b6bb4c573" providerId="ADAL" clId="{AF9FF4B5-C0CB-AE41-A71D-39792613AE17}" dt="2023-05-05T14:07:05.762" v="6"/>
          <ac:spMkLst>
            <pc:docMk/>
            <pc:sldMk cId="2483509572" sldId="353"/>
            <ac:spMk id="62" creationId="{F245F66D-D38B-308F-758C-32CA748A6DFB}"/>
          </ac:spMkLst>
        </pc:spChg>
        <pc:spChg chg="mod">
          <ac:chgData name="CHEN JINGSI" userId="2c6a6994-749a-46da-a9cf-6c6b6bb4c573" providerId="ADAL" clId="{AF9FF4B5-C0CB-AE41-A71D-39792613AE17}" dt="2023-05-05T14:07:05.762" v="6"/>
          <ac:spMkLst>
            <pc:docMk/>
            <pc:sldMk cId="2483509572" sldId="353"/>
            <ac:spMk id="63" creationId="{96CB82AC-5D7F-8C11-AF42-8AA4866F5EC9}"/>
          </ac:spMkLst>
        </pc:spChg>
        <pc:spChg chg="mod">
          <ac:chgData name="CHEN JINGSI" userId="2c6a6994-749a-46da-a9cf-6c6b6bb4c573" providerId="ADAL" clId="{AF9FF4B5-C0CB-AE41-A71D-39792613AE17}" dt="2023-05-05T14:07:05.762" v="6"/>
          <ac:spMkLst>
            <pc:docMk/>
            <pc:sldMk cId="2483509572" sldId="353"/>
            <ac:spMk id="1024" creationId="{45C3774D-2924-348E-3075-5865B294AE4C}"/>
          </ac:spMkLst>
        </pc:spChg>
        <pc:spChg chg="mod">
          <ac:chgData name="CHEN JINGSI" userId="2c6a6994-749a-46da-a9cf-6c6b6bb4c573" providerId="ADAL" clId="{AF9FF4B5-C0CB-AE41-A71D-39792613AE17}" dt="2023-05-05T14:07:05.762" v="6"/>
          <ac:spMkLst>
            <pc:docMk/>
            <pc:sldMk cId="2483509572" sldId="353"/>
            <ac:spMk id="1025" creationId="{F4754853-EFDF-0902-ED43-701F3B73F1E9}"/>
          </ac:spMkLst>
        </pc:spChg>
        <pc:spChg chg="mod">
          <ac:chgData name="CHEN JINGSI" userId="2c6a6994-749a-46da-a9cf-6c6b6bb4c573" providerId="ADAL" clId="{AF9FF4B5-C0CB-AE41-A71D-39792613AE17}" dt="2023-05-05T14:07:05.762" v="6"/>
          <ac:spMkLst>
            <pc:docMk/>
            <pc:sldMk cId="2483509572" sldId="353"/>
            <ac:spMk id="1026" creationId="{CA816B3B-9C65-8CE8-A624-6338E5346123}"/>
          </ac:spMkLst>
        </pc:spChg>
        <pc:spChg chg="mod">
          <ac:chgData name="CHEN JINGSI" userId="2c6a6994-749a-46da-a9cf-6c6b6bb4c573" providerId="ADAL" clId="{AF9FF4B5-C0CB-AE41-A71D-39792613AE17}" dt="2023-05-05T14:07:05.762" v="6"/>
          <ac:spMkLst>
            <pc:docMk/>
            <pc:sldMk cId="2483509572" sldId="353"/>
            <ac:spMk id="1028" creationId="{D2482579-F16B-80ED-4BD2-B1342F291969}"/>
          </ac:spMkLst>
        </pc:spChg>
        <pc:spChg chg="mod">
          <ac:chgData name="CHEN JINGSI" userId="2c6a6994-749a-46da-a9cf-6c6b6bb4c573" providerId="ADAL" clId="{AF9FF4B5-C0CB-AE41-A71D-39792613AE17}" dt="2023-05-05T14:07:05.762" v="6"/>
          <ac:spMkLst>
            <pc:docMk/>
            <pc:sldMk cId="2483509572" sldId="353"/>
            <ac:spMk id="1029" creationId="{FC14A9FB-584B-B120-3495-E7606A0FD142}"/>
          </ac:spMkLst>
        </pc:spChg>
        <pc:spChg chg="mod">
          <ac:chgData name="CHEN JINGSI" userId="2c6a6994-749a-46da-a9cf-6c6b6bb4c573" providerId="ADAL" clId="{AF9FF4B5-C0CB-AE41-A71D-39792613AE17}" dt="2023-05-05T14:07:05.762" v="6"/>
          <ac:spMkLst>
            <pc:docMk/>
            <pc:sldMk cId="2483509572" sldId="353"/>
            <ac:spMk id="1030" creationId="{F83C4327-BC43-AF29-59C5-C72129F66455}"/>
          </ac:spMkLst>
        </pc:spChg>
        <pc:spChg chg="mod">
          <ac:chgData name="CHEN JINGSI" userId="2c6a6994-749a-46da-a9cf-6c6b6bb4c573" providerId="ADAL" clId="{AF9FF4B5-C0CB-AE41-A71D-39792613AE17}" dt="2023-05-05T14:07:05.762" v="6"/>
          <ac:spMkLst>
            <pc:docMk/>
            <pc:sldMk cId="2483509572" sldId="353"/>
            <ac:spMk id="1031" creationId="{91802892-DC49-F1BC-4304-E75F189C0F32}"/>
          </ac:spMkLst>
        </pc:spChg>
        <pc:spChg chg="mod">
          <ac:chgData name="CHEN JINGSI" userId="2c6a6994-749a-46da-a9cf-6c6b6bb4c573" providerId="ADAL" clId="{AF9FF4B5-C0CB-AE41-A71D-39792613AE17}" dt="2023-05-05T14:07:05.762" v="6"/>
          <ac:spMkLst>
            <pc:docMk/>
            <pc:sldMk cId="2483509572" sldId="353"/>
            <ac:spMk id="1032" creationId="{728DBFB4-BA4D-910A-A42D-AE63E680A32C}"/>
          </ac:spMkLst>
        </pc:spChg>
        <pc:spChg chg="mod">
          <ac:chgData name="CHEN JINGSI" userId="2c6a6994-749a-46da-a9cf-6c6b6bb4c573" providerId="ADAL" clId="{AF9FF4B5-C0CB-AE41-A71D-39792613AE17}" dt="2023-05-05T14:07:38.711" v="12" actId="2711"/>
          <ac:spMkLst>
            <pc:docMk/>
            <pc:sldMk cId="2483509572" sldId="353"/>
            <ac:spMk id="1036" creationId="{C3BB732C-26CE-E733-92C9-ECE74C88D036}"/>
          </ac:spMkLst>
        </pc:spChg>
        <pc:spChg chg="mod">
          <ac:chgData name="CHEN JINGSI" userId="2c6a6994-749a-46da-a9cf-6c6b6bb4c573" providerId="ADAL" clId="{AF9FF4B5-C0CB-AE41-A71D-39792613AE17}" dt="2023-05-05T14:07:38.711" v="12" actId="2711"/>
          <ac:spMkLst>
            <pc:docMk/>
            <pc:sldMk cId="2483509572" sldId="353"/>
            <ac:spMk id="1037" creationId="{6CB1A8C3-A564-70BF-1F92-25EB9B8DFDE1}"/>
          </ac:spMkLst>
        </pc:spChg>
        <pc:spChg chg="mod">
          <ac:chgData name="CHEN JINGSI" userId="2c6a6994-749a-46da-a9cf-6c6b6bb4c573" providerId="ADAL" clId="{AF9FF4B5-C0CB-AE41-A71D-39792613AE17}" dt="2023-05-05T14:07:38.711" v="12" actId="2711"/>
          <ac:spMkLst>
            <pc:docMk/>
            <pc:sldMk cId="2483509572" sldId="353"/>
            <ac:spMk id="1042" creationId="{55907ECE-9957-1A45-62D4-1CEA4D43A2A2}"/>
          </ac:spMkLst>
        </pc:spChg>
        <pc:spChg chg="mod">
          <ac:chgData name="CHEN JINGSI" userId="2c6a6994-749a-46da-a9cf-6c6b6bb4c573" providerId="ADAL" clId="{AF9FF4B5-C0CB-AE41-A71D-39792613AE17}" dt="2023-05-05T14:07:38.711" v="12" actId="2711"/>
          <ac:spMkLst>
            <pc:docMk/>
            <pc:sldMk cId="2483509572" sldId="353"/>
            <ac:spMk id="1043" creationId="{B46BDD96-DCA3-8D03-EFC5-092D231D6790}"/>
          </ac:spMkLst>
        </pc:spChg>
        <pc:spChg chg="mod">
          <ac:chgData name="CHEN JINGSI" userId="2c6a6994-749a-46da-a9cf-6c6b6bb4c573" providerId="ADAL" clId="{AF9FF4B5-C0CB-AE41-A71D-39792613AE17}" dt="2023-05-05T14:07:08.728" v="8"/>
          <ac:spMkLst>
            <pc:docMk/>
            <pc:sldMk cId="2483509572" sldId="353"/>
            <ac:spMk id="1044" creationId="{612AAF8F-780A-193D-E3E2-4B7A3892E080}"/>
          </ac:spMkLst>
        </pc:spChg>
        <pc:spChg chg="mod">
          <ac:chgData name="CHEN JINGSI" userId="2c6a6994-749a-46da-a9cf-6c6b6bb4c573" providerId="ADAL" clId="{AF9FF4B5-C0CB-AE41-A71D-39792613AE17}" dt="2023-05-05T14:07:38.711" v="12" actId="2711"/>
          <ac:spMkLst>
            <pc:docMk/>
            <pc:sldMk cId="2483509572" sldId="353"/>
            <ac:spMk id="1045" creationId="{59FC4F46-8307-4A63-FE02-9567DAE91396}"/>
          </ac:spMkLst>
        </pc:spChg>
        <pc:spChg chg="mod">
          <ac:chgData name="CHEN JINGSI" userId="2c6a6994-749a-46da-a9cf-6c6b6bb4c573" providerId="ADAL" clId="{AF9FF4B5-C0CB-AE41-A71D-39792613AE17}" dt="2023-05-05T14:07:38.711" v="12" actId="2711"/>
          <ac:spMkLst>
            <pc:docMk/>
            <pc:sldMk cId="2483509572" sldId="353"/>
            <ac:spMk id="1046" creationId="{E9B0C28F-5C4E-53CB-8B03-65B9E0EFC78C}"/>
          </ac:spMkLst>
        </pc:spChg>
        <pc:spChg chg="mod">
          <ac:chgData name="CHEN JINGSI" userId="2c6a6994-749a-46da-a9cf-6c6b6bb4c573" providerId="ADAL" clId="{AF9FF4B5-C0CB-AE41-A71D-39792613AE17}" dt="2023-05-05T14:07:38.711" v="12" actId="2711"/>
          <ac:spMkLst>
            <pc:docMk/>
            <pc:sldMk cId="2483509572" sldId="353"/>
            <ac:spMk id="1047" creationId="{FAE84419-2D5D-27F2-C580-0A99A8B3B8CA}"/>
          </ac:spMkLst>
        </pc:spChg>
        <pc:spChg chg="mod">
          <ac:chgData name="CHEN JINGSI" userId="2c6a6994-749a-46da-a9cf-6c6b6bb4c573" providerId="ADAL" clId="{AF9FF4B5-C0CB-AE41-A71D-39792613AE17}" dt="2023-05-05T14:07:08.728" v="8"/>
          <ac:spMkLst>
            <pc:docMk/>
            <pc:sldMk cId="2483509572" sldId="353"/>
            <ac:spMk id="1048" creationId="{DA784D1D-875F-B492-9B66-4EF8B75BDACD}"/>
          </ac:spMkLst>
        </pc:spChg>
        <pc:spChg chg="mod">
          <ac:chgData name="CHEN JINGSI" userId="2c6a6994-749a-46da-a9cf-6c6b6bb4c573" providerId="ADAL" clId="{AF9FF4B5-C0CB-AE41-A71D-39792613AE17}" dt="2023-05-05T14:07:38.711" v="12" actId="2711"/>
          <ac:spMkLst>
            <pc:docMk/>
            <pc:sldMk cId="2483509572" sldId="353"/>
            <ac:spMk id="1049" creationId="{55C63BC5-F295-3028-5BFF-62BAE1E31764}"/>
          </ac:spMkLst>
        </pc:spChg>
        <pc:spChg chg="mod">
          <ac:chgData name="CHEN JINGSI" userId="2c6a6994-749a-46da-a9cf-6c6b6bb4c573" providerId="ADAL" clId="{AF9FF4B5-C0CB-AE41-A71D-39792613AE17}" dt="2023-05-05T14:07:38.711" v="12" actId="2711"/>
          <ac:spMkLst>
            <pc:docMk/>
            <pc:sldMk cId="2483509572" sldId="353"/>
            <ac:spMk id="1050" creationId="{EFA83225-C761-6301-F96E-E62602A86BD1}"/>
          </ac:spMkLst>
        </pc:spChg>
        <pc:spChg chg="mod">
          <ac:chgData name="CHEN JINGSI" userId="2c6a6994-749a-46da-a9cf-6c6b6bb4c573" providerId="ADAL" clId="{AF9FF4B5-C0CB-AE41-A71D-39792613AE17}" dt="2023-05-05T14:07:38.711" v="12" actId="2711"/>
          <ac:spMkLst>
            <pc:docMk/>
            <pc:sldMk cId="2483509572" sldId="353"/>
            <ac:spMk id="1051" creationId="{2618FD21-9489-4D98-6F64-CC98231B476E}"/>
          </ac:spMkLst>
        </pc:spChg>
        <pc:spChg chg="mod">
          <ac:chgData name="CHEN JINGSI" userId="2c6a6994-749a-46da-a9cf-6c6b6bb4c573" providerId="ADAL" clId="{AF9FF4B5-C0CB-AE41-A71D-39792613AE17}" dt="2023-05-05T14:07:38.711" v="12" actId="2711"/>
          <ac:spMkLst>
            <pc:docMk/>
            <pc:sldMk cId="2483509572" sldId="353"/>
            <ac:spMk id="1052" creationId="{FC4CCFC0-67F6-81BC-410C-4ED943A897CF}"/>
          </ac:spMkLst>
        </pc:spChg>
        <pc:spChg chg="mod">
          <ac:chgData name="CHEN JINGSI" userId="2c6a6994-749a-46da-a9cf-6c6b6bb4c573" providerId="ADAL" clId="{AF9FF4B5-C0CB-AE41-A71D-39792613AE17}" dt="2023-05-05T14:07:38.711" v="12" actId="2711"/>
          <ac:spMkLst>
            <pc:docMk/>
            <pc:sldMk cId="2483509572" sldId="353"/>
            <ac:spMk id="1053" creationId="{5E861B2F-742B-5FC5-620F-9C7A59BD8642}"/>
          </ac:spMkLst>
        </pc:spChg>
        <pc:spChg chg="mod">
          <ac:chgData name="CHEN JINGSI" userId="2c6a6994-749a-46da-a9cf-6c6b6bb4c573" providerId="ADAL" clId="{AF9FF4B5-C0CB-AE41-A71D-39792613AE17}" dt="2023-05-05T14:07:38.711" v="12" actId="2711"/>
          <ac:spMkLst>
            <pc:docMk/>
            <pc:sldMk cId="2483509572" sldId="353"/>
            <ac:spMk id="1054" creationId="{DE1DEC07-CDE0-4296-3FB8-E9635FFC4D12}"/>
          </ac:spMkLst>
        </pc:spChg>
        <pc:spChg chg="mod">
          <ac:chgData name="CHEN JINGSI" userId="2c6a6994-749a-46da-a9cf-6c6b6bb4c573" providerId="ADAL" clId="{AF9FF4B5-C0CB-AE41-A71D-39792613AE17}" dt="2023-05-05T14:07:38.711" v="12" actId="2711"/>
          <ac:spMkLst>
            <pc:docMk/>
            <pc:sldMk cId="2483509572" sldId="353"/>
            <ac:spMk id="1055" creationId="{D22D35D2-D7BA-BFC0-5459-A835F14F609E}"/>
          </ac:spMkLst>
        </pc:spChg>
        <pc:spChg chg="mod">
          <ac:chgData name="CHEN JINGSI" userId="2c6a6994-749a-46da-a9cf-6c6b6bb4c573" providerId="ADAL" clId="{AF9FF4B5-C0CB-AE41-A71D-39792613AE17}" dt="2023-05-05T14:07:38.711" v="12" actId="2711"/>
          <ac:spMkLst>
            <pc:docMk/>
            <pc:sldMk cId="2483509572" sldId="353"/>
            <ac:spMk id="1056" creationId="{55620A60-81E4-3ED9-C91E-E82ADBBCECB6}"/>
          </ac:spMkLst>
        </pc:spChg>
        <pc:spChg chg="mod">
          <ac:chgData name="CHEN JINGSI" userId="2c6a6994-749a-46da-a9cf-6c6b6bb4c573" providerId="ADAL" clId="{AF9FF4B5-C0CB-AE41-A71D-39792613AE17}" dt="2023-05-05T14:07:38.711" v="12" actId="2711"/>
          <ac:spMkLst>
            <pc:docMk/>
            <pc:sldMk cId="2483509572" sldId="353"/>
            <ac:spMk id="1057" creationId="{EE87DCBA-B48D-F340-4C45-A18DEF289027}"/>
          </ac:spMkLst>
        </pc:spChg>
        <pc:spChg chg="mod">
          <ac:chgData name="CHEN JINGSI" userId="2c6a6994-749a-46da-a9cf-6c6b6bb4c573" providerId="ADAL" clId="{AF9FF4B5-C0CB-AE41-A71D-39792613AE17}" dt="2023-05-05T14:07:38.711" v="12" actId="2711"/>
          <ac:spMkLst>
            <pc:docMk/>
            <pc:sldMk cId="2483509572" sldId="353"/>
            <ac:spMk id="1058" creationId="{678825A9-6145-9997-A357-338F7EF656DE}"/>
          </ac:spMkLst>
        </pc:spChg>
        <pc:spChg chg="mod">
          <ac:chgData name="CHEN JINGSI" userId="2c6a6994-749a-46da-a9cf-6c6b6bb4c573" providerId="ADAL" clId="{AF9FF4B5-C0CB-AE41-A71D-39792613AE17}" dt="2023-05-05T14:07:38.711" v="12" actId="2711"/>
          <ac:spMkLst>
            <pc:docMk/>
            <pc:sldMk cId="2483509572" sldId="353"/>
            <ac:spMk id="1059" creationId="{908AAA04-0D9C-F37C-7A50-F7240FA28B58}"/>
          </ac:spMkLst>
        </pc:spChg>
        <pc:spChg chg="mod">
          <ac:chgData name="CHEN JINGSI" userId="2c6a6994-749a-46da-a9cf-6c6b6bb4c573" providerId="ADAL" clId="{AF9FF4B5-C0CB-AE41-A71D-39792613AE17}" dt="2023-05-05T14:07:38.711" v="12" actId="2711"/>
          <ac:spMkLst>
            <pc:docMk/>
            <pc:sldMk cId="2483509572" sldId="353"/>
            <ac:spMk id="1060" creationId="{B218D93A-AAE5-04E6-14DB-7C4F3EE7BA58}"/>
          </ac:spMkLst>
        </pc:spChg>
        <pc:spChg chg="mod">
          <ac:chgData name="CHEN JINGSI" userId="2c6a6994-749a-46da-a9cf-6c6b6bb4c573" providerId="ADAL" clId="{AF9FF4B5-C0CB-AE41-A71D-39792613AE17}" dt="2023-05-05T14:07:38.711" v="12" actId="2711"/>
          <ac:spMkLst>
            <pc:docMk/>
            <pc:sldMk cId="2483509572" sldId="353"/>
            <ac:spMk id="1061" creationId="{AB6D27B3-98C9-BBAF-C115-E8CAB5D3268A}"/>
          </ac:spMkLst>
        </pc:spChg>
        <pc:spChg chg="mod">
          <ac:chgData name="CHEN JINGSI" userId="2c6a6994-749a-46da-a9cf-6c6b6bb4c573" providerId="ADAL" clId="{AF9FF4B5-C0CB-AE41-A71D-39792613AE17}" dt="2023-05-05T14:07:08.728" v="8"/>
          <ac:spMkLst>
            <pc:docMk/>
            <pc:sldMk cId="2483509572" sldId="353"/>
            <ac:spMk id="1062" creationId="{4CEE84BE-5735-0E9F-2EE6-D3C80BDDB437}"/>
          </ac:spMkLst>
        </pc:spChg>
        <pc:spChg chg="mod">
          <ac:chgData name="CHEN JINGSI" userId="2c6a6994-749a-46da-a9cf-6c6b6bb4c573" providerId="ADAL" clId="{AF9FF4B5-C0CB-AE41-A71D-39792613AE17}" dt="2023-05-05T14:07:38.711" v="12" actId="2711"/>
          <ac:spMkLst>
            <pc:docMk/>
            <pc:sldMk cId="2483509572" sldId="353"/>
            <ac:spMk id="1063" creationId="{69E13BD6-6B4D-CA2F-CB5B-066A42AB0CE7}"/>
          </ac:spMkLst>
        </pc:spChg>
        <pc:spChg chg="mod">
          <ac:chgData name="CHEN JINGSI" userId="2c6a6994-749a-46da-a9cf-6c6b6bb4c573" providerId="ADAL" clId="{AF9FF4B5-C0CB-AE41-A71D-39792613AE17}" dt="2023-05-05T14:07:38.711" v="12" actId="2711"/>
          <ac:spMkLst>
            <pc:docMk/>
            <pc:sldMk cId="2483509572" sldId="353"/>
            <ac:spMk id="1064" creationId="{43C37818-D7E3-0F97-5BD1-75DB7215BE67}"/>
          </ac:spMkLst>
        </pc:spChg>
        <pc:spChg chg="mod">
          <ac:chgData name="CHEN JINGSI" userId="2c6a6994-749a-46da-a9cf-6c6b6bb4c573" providerId="ADAL" clId="{AF9FF4B5-C0CB-AE41-A71D-39792613AE17}" dt="2023-05-05T14:07:38.711" v="12" actId="2711"/>
          <ac:spMkLst>
            <pc:docMk/>
            <pc:sldMk cId="2483509572" sldId="353"/>
            <ac:spMk id="1065" creationId="{BD87D06E-764B-6491-04F3-D8382E8F925F}"/>
          </ac:spMkLst>
        </pc:spChg>
        <pc:spChg chg="mod">
          <ac:chgData name="CHEN JINGSI" userId="2c6a6994-749a-46da-a9cf-6c6b6bb4c573" providerId="ADAL" clId="{AF9FF4B5-C0CB-AE41-A71D-39792613AE17}" dt="2023-05-05T14:07:38.711" v="12" actId="2711"/>
          <ac:spMkLst>
            <pc:docMk/>
            <pc:sldMk cId="2483509572" sldId="353"/>
            <ac:spMk id="1066" creationId="{0EFCF6C0-8A48-3167-DC8D-4166688FF8FE}"/>
          </ac:spMkLst>
        </pc:spChg>
        <pc:grpChg chg="add del mod">
          <ac:chgData name="CHEN JINGSI" userId="2c6a6994-749a-46da-a9cf-6c6b6bb4c573" providerId="ADAL" clId="{AF9FF4B5-C0CB-AE41-A71D-39792613AE17}" dt="2023-05-05T14:07:04.582" v="5" actId="478"/>
          <ac:grpSpMkLst>
            <pc:docMk/>
            <pc:sldMk cId="2483509572" sldId="353"/>
            <ac:grpSpMk id="5" creationId="{A38187F0-5FF9-67AD-7158-5323FBC06EBF}"/>
          </ac:grpSpMkLst>
        </pc:grpChg>
        <pc:grpChg chg="mod">
          <ac:chgData name="CHEN JINGSI" userId="2c6a6994-749a-46da-a9cf-6c6b6bb4c573" providerId="ADAL" clId="{AF9FF4B5-C0CB-AE41-A71D-39792613AE17}" dt="2023-05-05T14:06:38.704" v="2"/>
          <ac:grpSpMkLst>
            <pc:docMk/>
            <pc:sldMk cId="2483509572" sldId="353"/>
            <ac:grpSpMk id="6" creationId="{B694FEFD-748F-CC15-A193-A2BE105F0E93}"/>
          </ac:grpSpMkLst>
        </pc:grpChg>
        <pc:grpChg chg="mod">
          <ac:chgData name="CHEN JINGSI" userId="2c6a6994-749a-46da-a9cf-6c6b6bb4c573" providerId="ADAL" clId="{AF9FF4B5-C0CB-AE41-A71D-39792613AE17}" dt="2023-05-05T14:06:38.704" v="2"/>
          <ac:grpSpMkLst>
            <pc:docMk/>
            <pc:sldMk cId="2483509572" sldId="353"/>
            <ac:grpSpMk id="9" creationId="{2789C108-B4BA-4291-F423-D98D2A7ED3DA}"/>
          </ac:grpSpMkLst>
        </pc:grpChg>
        <pc:grpChg chg="mod">
          <ac:chgData name="CHEN JINGSI" userId="2c6a6994-749a-46da-a9cf-6c6b6bb4c573" providerId="ADAL" clId="{AF9FF4B5-C0CB-AE41-A71D-39792613AE17}" dt="2023-05-05T14:06:38.704" v="2"/>
          <ac:grpSpMkLst>
            <pc:docMk/>
            <pc:sldMk cId="2483509572" sldId="353"/>
            <ac:grpSpMk id="10" creationId="{6F7A10D3-33C3-1761-7553-6677401E0279}"/>
          </ac:grpSpMkLst>
        </pc:grpChg>
        <pc:grpChg chg="mod">
          <ac:chgData name="CHEN JINGSI" userId="2c6a6994-749a-46da-a9cf-6c6b6bb4c573" providerId="ADAL" clId="{AF9FF4B5-C0CB-AE41-A71D-39792613AE17}" dt="2023-05-05T14:06:38.704" v="2"/>
          <ac:grpSpMkLst>
            <pc:docMk/>
            <pc:sldMk cId="2483509572" sldId="353"/>
            <ac:grpSpMk id="11" creationId="{D930FF9D-0EEB-53A6-37ED-275A303E53EA}"/>
          </ac:grpSpMkLst>
        </pc:grpChg>
        <pc:grpChg chg="mod">
          <ac:chgData name="CHEN JINGSI" userId="2c6a6994-749a-46da-a9cf-6c6b6bb4c573" providerId="ADAL" clId="{AF9FF4B5-C0CB-AE41-A71D-39792613AE17}" dt="2023-05-05T14:06:38.704" v="2"/>
          <ac:grpSpMkLst>
            <pc:docMk/>
            <pc:sldMk cId="2483509572" sldId="353"/>
            <ac:grpSpMk id="12" creationId="{391774CE-3766-A772-930F-96F382596394}"/>
          </ac:grpSpMkLst>
        </pc:grpChg>
        <pc:grpChg chg="add del mod">
          <ac:chgData name="CHEN JINGSI" userId="2c6a6994-749a-46da-a9cf-6c6b6bb4c573" providerId="ADAL" clId="{AF9FF4B5-C0CB-AE41-A71D-39792613AE17}" dt="2023-05-05T14:07:08.703" v="7"/>
          <ac:grpSpMkLst>
            <pc:docMk/>
            <pc:sldMk cId="2483509572" sldId="353"/>
            <ac:grpSpMk id="39" creationId="{7F0F14AD-9002-4527-085B-B9B0D3E07E05}"/>
          </ac:grpSpMkLst>
        </pc:grpChg>
        <pc:grpChg chg="mod">
          <ac:chgData name="CHEN JINGSI" userId="2c6a6994-749a-46da-a9cf-6c6b6bb4c573" providerId="ADAL" clId="{AF9FF4B5-C0CB-AE41-A71D-39792613AE17}" dt="2023-05-05T14:07:05.762" v="6"/>
          <ac:grpSpMkLst>
            <pc:docMk/>
            <pc:sldMk cId="2483509572" sldId="353"/>
            <ac:grpSpMk id="40" creationId="{ACC52CA1-3A3F-8C64-6E5A-7A01165413C3}"/>
          </ac:grpSpMkLst>
        </pc:grpChg>
        <pc:grpChg chg="mod">
          <ac:chgData name="CHEN JINGSI" userId="2c6a6994-749a-46da-a9cf-6c6b6bb4c573" providerId="ADAL" clId="{AF9FF4B5-C0CB-AE41-A71D-39792613AE17}" dt="2023-05-05T14:07:05.762" v="6"/>
          <ac:grpSpMkLst>
            <pc:docMk/>
            <pc:sldMk cId="2483509572" sldId="353"/>
            <ac:grpSpMk id="43" creationId="{6A7319D9-3B3B-EB4C-F1CA-D879DACDAB11}"/>
          </ac:grpSpMkLst>
        </pc:grpChg>
        <pc:grpChg chg="mod">
          <ac:chgData name="CHEN JINGSI" userId="2c6a6994-749a-46da-a9cf-6c6b6bb4c573" providerId="ADAL" clId="{AF9FF4B5-C0CB-AE41-A71D-39792613AE17}" dt="2023-05-05T14:07:05.762" v="6"/>
          <ac:grpSpMkLst>
            <pc:docMk/>
            <pc:sldMk cId="2483509572" sldId="353"/>
            <ac:grpSpMk id="44" creationId="{D2E71FDE-4F96-D833-8455-357F73B9F0EB}"/>
          </ac:grpSpMkLst>
        </pc:grpChg>
        <pc:grpChg chg="mod">
          <ac:chgData name="CHEN JINGSI" userId="2c6a6994-749a-46da-a9cf-6c6b6bb4c573" providerId="ADAL" clId="{AF9FF4B5-C0CB-AE41-A71D-39792613AE17}" dt="2023-05-05T14:07:05.762" v="6"/>
          <ac:grpSpMkLst>
            <pc:docMk/>
            <pc:sldMk cId="2483509572" sldId="353"/>
            <ac:grpSpMk id="45" creationId="{A4488FED-2DE4-4C1E-9F3A-46A287D53376}"/>
          </ac:grpSpMkLst>
        </pc:grpChg>
        <pc:grpChg chg="mod">
          <ac:chgData name="CHEN JINGSI" userId="2c6a6994-749a-46da-a9cf-6c6b6bb4c573" providerId="ADAL" clId="{AF9FF4B5-C0CB-AE41-A71D-39792613AE17}" dt="2023-05-05T14:07:05.762" v="6"/>
          <ac:grpSpMkLst>
            <pc:docMk/>
            <pc:sldMk cId="2483509572" sldId="353"/>
            <ac:grpSpMk id="46" creationId="{6E3BBDA6-ADD4-BE10-483E-B9E321669330}"/>
          </ac:grpSpMkLst>
        </pc:grpChg>
        <pc:grpChg chg="add mod">
          <ac:chgData name="CHEN JINGSI" userId="2c6a6994-749a-46da-a9cf-6c6b6bb4c573" providerId="ADAL" clId="{AF9FF4B5-C0CB-AE41-A71D-39792613AE17}" dt="2023-05-05T14:07:25.809" v="11" actId="1076"/>
          <ac:grpSpMkLst>
            <pc:docMk/>
            <pc:sldMk cId="2483509572" sldId="353"/>
            <ac:grpSpMk id="1034" creationId="{F25676D8-4C57-A038-31EF-C00A56C29F16}"/>
          </ac:grpSpMkLst>
        </pc:grpChg>
        <pc:grpChg chg="mod">
          <ac:chgData name="CHEN JINGSI" userId="2c6a6994-749a-46da-a9cf-6c6b6bb4c573" providerId="ADAL" clId="{AF9FF4B5-C0CB-AE41-A71D-39792613AE17}" dt="2023-05-05T14:07:08.728" v="8"/>
          <ac:grpSpMkLst>
            <pc:docMk/>
            <pc:sldMk cId="2483509572" sldId="353"/>
            <ac:grpSpMk id="1035" creationId="{85279276-95B9-0B01-1A31-6C6EB3A16969}"/>
          </ac:grpSpMkLst>
        </pc:grpChg>
        <pc:grpChg chg="mod">
          <ac:chgData name="CHEN JINGSI" userId="2c6a6994-749a-46da-a9cf-6c6b6bb4c573" providerId="ADAL" clId="{AF9FF4B5-C0CB-AE41-A71D-39792613AE17}" dt="2023-05-05T14:07:08.728" v="8"/>
          <ac:grpSpMkLst>
            <pc:docMk/>
            <pc:sldMk cId="2483509572" sldId="353"/>
            <ac:grpSpMk id="1038" creationId="{ADB9CB6C-0285-4B26-4886-CF14C4969E7F}"/>
          </ac:grpSpMkLst>
        </pc:grpChg>
        <pc:grpChg chg="mod">
          <ac:chgData name="CHEN JINGSI" userId="2c6a6994-749a-46da-a9cf-6c6b6bb4c573" providerId="ADAL" clId="{AF9FF4B5-C0CB-AE41-A71D-39792613AE17}" dt="2023-05-05T14:07:08.728" v="8"/>
          <ac:grpSpMkLst>
            <pc:docMk/>
            <pc:sldMk cId="2483509572" sldId="353"/>
            <ac:grpSpMk id="1039" creationId="{2C8B044E-4D02-626E-EF27-6BFABA33C0D1}"/>
          </ac:grpSpMkLst>
        </pc:grpChg>
        <pc:grpChg chg="mod">
          <ac:chgData name="CHEN JINGSI" userId="2c6a6994-749a-46da-a9cf-6c6b6bb4c573" providerId="ADAL" clId="{AF9FF4B5-C0CB-AE41-A71D-39792613AE17}" dt="2023-05-05T14:07:08.728" v="8"/>
          <ac:grpSpMkLst>
            <pc:docMk/>
            <pc:sldMk cId="2483509572" sldId="353"/>
            <ac:grpSpMk id="1040" creationId="{965377AB-12DA-98AD-C9A1-4E331B4A35A3}"/>
          </ac:grpSpMkLst>
        </pc:grpChg>
        <pc:grpChg chg="mod">
          <ac:chgData name="CHEN JINGSI" userId="2c6a6994-749a-46da-a9cf-6c6b6bb4c573" providerId="ADAL" clId="{AF9FF4B5-C0CB-AE41-A71D-39792613AE17}" dt="2023-05-05T14:07:08.728" v="8"/>
          <ac:grpSpMkLst>
            <pc:docMk/>
            <pc:sldMk cId="2483509572" sldId="353"/>
            <ac:grpSpMk id="1041" creationId="{5E407BD0-4133-6196-071E-3A340CB5F016}"/>
          </ac:grpSpMkLst>
        </pc:grpChg>
        <pc:picChg chg="mod">
          <ac:chgData name="CHEN JINGSI" userId="2c6a6994-749a-46da-a9cf-6c6b6bb4c573" providerId="ADAL" clId="{AF9FF4B5-C0CB-AE41-A71D-39792613AE17}" dt="2023-05-05T14:06:38.704" v="2"/>
          <ac:picMkLst>
            <pc:docMk/>
            <pc:sldMk cId="2483509572" sldId="353"/>
            <ac:picMk id="38" creationId="{4F4CAA2B-0A82-4E8A-A67B-11F828FA7C1D}"/>
          </ac:picMkLst>
        </pc:picChg>
        <pc:picChg chg="del">
          <ac:chgData name="CHEN JINGSI" userId="2c6a6994-749a-46da-a9cf-6c6b6bb4c573" providerId="ADAL" clId="{AF9FF4B5-C0CB-AE41-A71D-39792613AE17}" dt="2023-05-05T14:06:32.870" v="1" actId="478"/>
          <ac:picMkLst>
            <pc:docMk/>
            <pc:sldMk cId="2483509572" sldId="353"/>
            <ac:picMk id="1027" creationId="{BF4E4BBE-39DF-BD22-9022-9D98AC7A9891}"/>
          </ac:picMkLst>
        </pc:picChg>
        <pc:picChg chg="mod">
          <ac:chgData name="CHEN JINGSI" userId="2c6a6994-749a-46da-a9cf-6c6b6bb4c573" providerId="ADAL" clId="{AF9FF4B5-C0CB-AE41-A71D-39792613AE17}" dt="2023-05-05T14:07:05.762" v="6"/>
          <ac:picMkLst>
            <pc:docMk/>
            <pc:sldMk cId="2483509572" sldId="353"/>
            <ac:picMk id="1033" creationId="{5B5636FA-27A3-B39B-F1FE-D07F54E1DE1D}"/>
          </ac:picMkLst>
        </pc:picChg>
        <pc:picChg chg="mod">
          <ac:chgData name="CHEN JINGSI" userId="2c6a6994-749a-46da-a9cf-6c6b6bb4c573" providerId="ADAL" clId="{AF9FF4B5-C0CB-AE41-A71D-39792613AE17}" dt="2023-05-05T14:07:08.728" v="8"/>
          <ac:picMkLst>
            <pc:docMk/>
            <pc:sldMk cId="2483509572" sldId="353"/>
            <ac:picMk id="1067" creationId="{23A50DE1-E18D-3705-7CB6-37BAF65E80DD}"/>
          </ac:picMkLst>
        </pc:picChg>
      </pc:sldChg>
      <pc:sldChg chg="addSp delSp modSp add mod">
        <pc:chgData name="CHEN JINGSI" userId="2c6a6994-749a-46da-a9cf-6c6b6bb4c573" providerId="ADAL" clId="{AF9FF4B5-C0CB-AE41-A71D-39792613AE17}" dt="2023-05-08T17:24:05.649" v="244" actId="1035"/>
        <pc:sldMkLst>
          <pc:docMk/>
          <pc:sldMk cId="1887058106" sldId="354"/>
        </pc:sldMkLst>
        <pc:spChg chg="mod">
          <ac:chgData name="CHEN JINGSI" userId="2c6a6994-749a-46da-a9cf-6c6b6bb4c573" providerId="ADAL" clId="{AF9FF4B5-C0CB-AE41-A71D-39792613AE17}" dt="2023-05-08T17:23:07.675" v="236" actId="2711"/>
          <ac:spMkLst>
            <pc:docMk/>
            <pc:sldMk cId="1887058106" sldId="354"/>
            <ac:spMk id="6" creationId="{961B8456-B59E-6EE2-6F0E-9F30D113E4A9}"/>
          </ac:spMkLst>
        </pc:spChg>
        <pc:spChg chg="mod">
          <ac:chgData name="CHEN JINGSI" userId="2c6a6994-749a-46da-a9cf-6c6b6bb4c573" providerId="ADAL" clId="{AF9FF4B5-C0CB-AE41-A71D-39792613AE17}" dt="2023-05-08T17:23:58.919" v="242" actId="1076"/>
          <ac:spMkLst>
            <pc:docMk/>
            <pc:sldMk cId="1887058106" sldId="354"/>
            <ac:spMk id="9" creationId="{9CF67051-C77F-48AE-22B6-C29BCB4154F4}"/>
          </ac:spMkLst>
        </pc:spChg>
        <pc:spChg chg="del mod">
          <ac:chgData name="CHEN JINGSI" userId="2c6a6994-749a-46da-a9cf-6c6b6bb4c573" providerId="ADAL" clId="{AF9FF4B5-C0CB-AE41-A71D-39792613AE17}" dt="2023-05-08T17:22:09.371" v="229" actId="478"/>
          <ac:spMkLst>
            <pc:docMk/>
            <pc:sldMk cId="1887058106" sldId="354"/>
            <ac:spMk id="11" creationId="{3E257E8D-D3C5-58DC-4C6C-2C9A765366EF}"/>
          </ac:spMkLst>
        </pc:spChg>
        <pc:spChg chg="mod">
          <ac:chgData name="CHEN JINGSI" userId="2c6a6994-749a-46da-a9cf-6c6b6bb4c573" providerId="ADAL" clId="{AF9FF4B5-C0CB-AE41-A71D-39792613AE17}" dt="2023-05-08T17:21:53.629" v="228" actId="20577"/>
          <ac:spMkLst>
            <pc:docMk/>
            <pc:sldMk cId="1887058106" sldId="354"/>
            <ac:spMk id="13" creationId="{D63B1E87-2B8B-688E-6902-40E1030CE8A9}"/>
          </ac:spMkLst>
        </pc:spChg>
        <pc:spChg chg="mod">
          <ac:chgData name="CHEN JINGSI" userId="2c6a6994-749a-46da-a9cf-6c6b6bb4c573" providerId="ADAL" clId="{AF9FF4B5-C0CB-AE41-A71D-39792613AE17}" dt="2023-05-08T17:24:05.649" v="244" actId="1035"/>
          <ac:spMkLst>
            <pc:docMk/>
            <pc:sldMk cId="1887058106" sldId="354"/>
            <ac:spMk id="17" creationId="{1DD1B5EB-E1B9-3C97-5D29-DD57D9FB7DC7}"/>
          </ac:spMkLst>
        </pc:spChg>
        <pc:spChg chg="mod">
          <ac:chgData name="CHEN JINGSI" userId="2c6a6994-749a-46da-a9cf-6c6b6bb4c573" providerId="ADAL" clId="{AF9FF4B5-C0CB-AE41-A71D-39792613AE17}" dt="2023-05-08T17:23:07.675" v="236" actId="2711"/>
          <ac:spMkLst>
            <pc:docMk/>
            <pc:sldMk cId="1887058106" sldId="354"/>
            <ac:spMk id="19" creationId="{67662312-B0C1-B807-8561-5E4C4314F610}"/>
          </ac:spMkLst>
        </pc:spChg>
        <pc:spChg chg="del">
          <ac:chgData name="CHEN JINGSI" userId="2c6a6994-749a-46da-a9cf-6c6b6bb4c573" providerId="ADAL" clId="{AF9FF4B5-C0CB-AE41-A71D-39792613AE17}" dt="2023-05-08T17:19:35.651" v="199" actId="478"/>
          <ac:spMkLst>
            <pc:docMk/>
            <pc:sldMk cId="1887058106" sldId="354"/>
            <ac:spMk id="20" creationId="{5A732ADD-4617-742E-6161-7698020CE6A7}"/>
          </ac:spMkLst>
        </pc:spChg>
        <pc:spChg chg="del">
          <ac:chgData name="CHEN JINGSI" userId="2c6a6994-749a-46da-a9cf-6c6b6bb4c573" providerId="ADAL" clId="{AF9FF4B5-C0CB-AE41-A71D-39792613AE17}" dt="2023-05-08T17:19:36.645" v="200" actId="478"/>
          <ac:spMkLst>
            <pc:docMk/>
            <pc:sldMk cId="1887058106" sldId="354"/>
            <ac:spMk id="21" creationId="{D693394B-146D-4319-E235-36E56F709B4D}"/>
          </ac:spMkLst>
        </pc:spChg>
        <pc:spChg chg="del">
          <ac:chgData name="CHEN JINGSI" userId="2c6a6994-749a-46da-a9cf-6c6b6bb4c573" providerId="ADAL" clId="{AF9FF4B5-C0CB-AE41-A71D-39792613AE17}" dt="2023-05-08T17:19:37.653" v="201" actId="478"/>
          <ac:spMkLst>
            <pc:docMk/>
            <pc:sldMk cId="1887058106" sldId="354"/>
            <ac:spMk id="22" creationId="{05B1B6B4-D7ED-29B7-EA52-59774D893794}"/>
          </ac:spMkLst>
        </pc:spChg>
        <pc:spChg chg="del">
          <ac:chgData name="CHEN JINGSI" userId="2c6a6994-749a-46da-a9cf-6c6b6bb4c573" providerId="ADAL" clId="{AF9FF4B5-C0CB-AE41-A71D-39792613AE17}" dt="2023-05-08T17:19:39.634" v="202" actId="478"/>
          <ac:spMkLst>
            <pc:docMk/>
            <pc:sldMk cId="1887058106" sldId="354"/>
            <ac:spMk id="23" creationId="{F5D5C057-F789-4BF1-2C4C-1D37C5B82BC9}"/>
          </ac:spMkLst>
        </pc:spChg>
        <pc:spChg chg="del">
          <ac:chgData name="CHEN JINGSI" userId="2c6a6994-749a-46da-a9cf-6c6b6bb4c573" providerId="ADAL" clId="{AF9FF4B5-C0CB-AE41-A71D-39792613AE17}" dt="2023-05-08T17:19:40.558" v="203" actId="478"/>
          <ac:spMkLst>
            <pc:docMk/>
            <pc:sldMk cId="1887058106" sldId="354"/>
            <ac:spMk id="24" creationId="{202A02B7-129D-CE60-1CE4-156F96A4E95E}"/>
          </ac:spMkLst>
        </pc:spChg>
        <pc:spChg chg="mod">
          <ac:chgData name="CHEN JINGSI" userId="2c6a6994-749a-46da-a9cf-6c6b6bb4c573" providerId="ADAL" clId="{AF9FF4B5-C0CB-AE41-A71D-39792613AE17}" dt="2023-05-08T17:21:45.409" v="224" actId="20577"/>
          <ac:spMkLst>
            <pc:docMk/>
            <pc:sldMk cId="1887058106" sldId="354"/>
            <ac:spMk id="28" creationId="{7720DE1E-2C05-D4B1-3594-6D5111243BC6}"/>
          </ac:spMkLst>
        </pc:spChg>
        <pc:spChg chg="mod">
          <ac:chgData name="CHEN JINGSI" userId="2c6a6994-749a-46da-a9cf-6c6b6bb4c573" providerId="ADAL" clId="{AF9FF4B5-C0CB-AE41-A71D-39792613AE17}" dt="2023-05-08T17:23:07.675" v="236" actId="2711"/>
          <ac:spMkLst>
            <pc:docMk/>
            <pc:sldMk cId="1887058106" sldId="354"/>
            <ac:spMk id="34" creationId="{539C960E-66E2-851C-E7F5-94FBA4AEE6E8}"/>
          </ac:spMkLst>
        </pc:spChg>
        <pc:spChg chg="mod">
          <ac:chgData name="CHEN JINGSI" userId="2c6a6994-749a-46da-a9cf-6c6b6bb4c573" providerId="ADAL" clId="{AF9FF4B5-C0CB-AE41-A71D-39792613AE17}" dt="2023-05-08T17:23:07.675" v="236" actId="2711"/>
          <ac:spMkLst>
            <pc:docMk/>
            <pc:sldMk cId="1887058106" sldId="354"/>
            <ac:spMk id="35" creationId="{CB7277A8-035A-E530-8473-19CA51867FF5}"/>
          </ac:spMkLst>
        </pc:spChg>
        <pc:spChg chg="mod">
          <ac:chgData name="CHEN JINGSI" userId="2c6a6994-749a-46da-a9cf-6c6b6bb4c573" providerId="ADAL" clId="{AF9FF4B5-C0CB-AE41-A71D-39792613AE17}" dt="2023-05-08T17:23:07.675" v="236" actId="2711"/>
          <ac:spMkLst>
            <pc:docMk/>
            <pc:sldMk cId="1887058106" sldId="354"/>
            <ac:spMk id="40" creationId="{AA9C757A-A3EF-165E-E157-0E116EA7A097}"/>
          </ac:spMkLst>
        </pc:spChg>
        <pc:spChg chg="mod">
          <ac:chgData name="CHEN JINGSI" userId="2c6a6994-749a-46da-a9cf-6c6b6bb4c573" providerId="ADAL" clId="{AF9FF4B5-C0CB-AE41-A71D-39792613AE17}" dt="2023-05-08T17:23:07.675" v="236" actId="2711"/>
          <ac:spMkLst>
            <pc:docMk/>
            <pc:sldMk cId="1887058106" sldId="354"/>
            <ac:spMk id="41" creationId="{CBA2100A-4819-B4BF-8162-371EDDDF8656}"/>
          </ac:spMkLst>
        </pc:spChg>
        <pc:spChg chg="mod">
          <ac:chgData name="CHEN JINGSI" userId="2c6a6994-749a-46da-a9cf-6c6b6bb4c573" providerId="ADAL" clId="{AF9FF4B5-C0CB-AE41-A71D-39792613AE17}" dt="2023-05-08T17:23:07.675" v="236" actId="2711"/>
          <ac:spMkLst>
            <pc:docMk/>
            <pc:sldMk cId="1887058106" sldId="354"/>
            <ac:spMk id="42" creationId="{53FEB166-BC85-4E97-2606-2717D005BDD5}"/>
          </ac:spMkLst>
        </pc:spChg>
        <pc:spChg chg="mod">
          <ac:chgData name="CHEN JINGSI" userId="2c6a6994-749a-46da-a9cf-6c6b6bb4c573" providerId="ADAL" clId="{AF9FF4B5-C0CB-AE41-A71D-39792613AE17}" dt="2023-05-08T17:23:07.675" v="236" actId="2711"/>
          <ac:spMkLst>
            <pc:docMk/>
            <pc:sldMk cId="1887058106" sldId="354"/>
            <ac:spMk id="43" creationId="{88BDF291-FBA7-42F4-09B9-A3D0D11AEB90}"/>
          </ac:spMkLst>
        </pc:spChg>
        <pc:spChg chg="mod">
          <ac:chgData name="CHEN JINGSI" userId="2c6a6994-749a-46da-a9cf-6c6b6bb4c573" providerId="ADAL" clId="{AF9FF4B5-C0CB-AE41-A71D-39792613AE17}" dt="2023-05-08T17:23:07.675" v="236" actId="2711"/>
          <ac:spMkLst>
            <pc:docMk/>
            <pc:sldMk cId="1887058106" sldId="354"/>
            <ac:spMk id="44" creationId="{D5F20DBB-6C46-34D9-AEAD-C39D607098F8}"/>
          </ac:spMkLst>
        </pc:spChg>
        <pc:spChg chg="mod">
          <ac:chgData name="CHEN JINGSI" userId="2c6a6994-749a-46da-a9cf-6c6b6bb4c573" providerId="ADAL" clId="{AF9FF4B5-C0CB-AE41-A71D-39792613AE17}" dt="2023-05-08T17:23:53.646" v="241" actId="1076"/>
          <ac:spMkLst>
            <pc:docMk/>
            <pc:sldMk cId="1887058106" sldId="354"/>
            <ac:spMk id="45" creationId="{B10404B8-A2D2-8EBF-30D2-4FB7355999AE}"/>
          </ac:spMkLst>
        </pc:spChg>
        <pc:spChg chg="mod">
          <ac:chgData name="CHEN JINGSI" userId="2c6a6994-749a-46da-a9cf-6c6b6bb4c573" providerId="ADAL" clId="{AF9FF4B5-C0CB-AE41-A71D-39792613AE17}" dt="2023-05-08T17:23:07.675" v="236" actId="2711"/>
          <ac:spMkLst>
            <pc:docMk/>
            <pc:sldMk cId="1887058106" sldId="354"/>
            <ac:spMk id="46" creationId="{4C01602D-42A7-8040-CFD2-262BAB45AF3B}"/>
          </ac:spMkLst>
        </pc:spChg>
        <pc:spChg chg="mod">
          <ac:chgData name="CHEN JINGSI" userId="2c6a6994-749a-46da-a9cf-6c6b6bb4c573" providerId="ADAL" clId="{AF9FF4B5-C0CB-AE41-A71D-39792613AE17}" dt="2023-05-08T17:23:07.675" v="236" actId="2711"/>
          <ac:spMkLst>
            <pc:docMk/>
            <pc:sldMk cId="1887058106" sldId="354"/>
            <ac:spMk id="47" creationId="{2AE1AB6B-5FDA-DCA3-8C10-E45A5E388EA8}"/>
          </ac:spMkLst>
        </pc:spChg>
        <pc:spChg chg="mod">
          <ac:chgData name="CHEN JINGSI" userId="2c6a6994-749a-46da-a9cf-6c6b6bb4c573" providerId="ADAL" clId="{AF9FF4B5-C0CB-AE41-A71D-39792613AE17}" dt="2023-05-08T17:23:07.675" v="236" actId="2711"/>
          <ac:spMkLst>
            <pc:docMk/>
            <pc:sldMk cId="1887058106" sldId="354"/>
            <ac:spMk id="48" creationId="{63AB10F8-8D23-3B8B-21F0-6421E48E4600}"/>
          </ac:spMkLst>
        </pc:spChg>
        <pc:spChg chg="mod">
          <ac:chgData name="CHEN JINGSI" userId="2c6a6994-749a-46da-a9cf-6c6b6bb4c573" providerId="ADAL" clId="{AF9FF4B5-C0CB-AE41-A71D-39792613AE17}" dt="2023-05-08T17:23:43.500" v="240" actId="1076"/>
          <ac:spMkLst>
            <pc:docMk/>
            <pc:sldMk cId="1887058106" sldId="354"/>
            <ac:spMk id="49" creationId="{F0CA68F0-F065-BFF2-0F2F-095BCDFBC5AF}"/>
          </ac:spMkLst>
        </pc:spChg>
        <pc:spChg chg="mod">
          <ac:chgData name="CHEN JINGSI" userId="2c6a6994-749a-46da-a9cf-6c6b6bb4c573" providerId="ADAL" clId="{AF9FF4B5-C0CB-AE41-A71D-39792613AE17}" dt="2023-05-08T17:23:07.675" v="236" actId="2711"/>
          <ac:spMkLst>
            <pc:docMk/>
            <pc:sldMk cId="1887058106" sldId="354"/>
            <ac:spMk id="50" creationId="{A74734B8-91C9-3DF0-CCE0-F73F78B10A5C}"/>
          </ac:spMkLst>
        </pc:spChg>
        <pc:spChg chg="mod">
          <ac:chgData name="CHEN JINGSI" userId="2c6a6994-749a-46da-a9cf-6c6b6bb4c573" providerId="ADAL" clId="{AF9FF4B5-C0CB-AE41-A71D-39792613AE17}" dt="2023-05-08T17:23:07.675" v="236" actId="2711"/>
          <ac:spMkLst>
            <pc:docMk/>
            <pc:sldMk cId="1887058106" sldId="354"/>
            <ac:spMk id="51" creationId="{CD27EAB3-F67E-DEB5-2D79-2A70187AD9F6}"/>
          </ac:spMkLst>
        </pc:spChg>
        <pc:spChg chg="mod">
          <ac:chgData name="CHEN JINGSI" userId="2c6a6994-749a-46da-a9cf-6c6b6bb4c573" providerId="ADAL" clId="{AF9FF4B5-C0CB-AE41-A71D-39792613AE17}" dt="2023-05-08T17:23:07.675" v="236" actId="2711"/>
          <ac:spMkLst>
            <pc:docMk/>
            <pc:sldMk cId="1887058106" sldId="354"/>
            <ac:spMk id="52" creationId="{EFE31B4B-2215-811F-34FC-5DDE6C6EF279}"/>
          </ac:spMkLst>
        </pc:spChg>
        <pc:spChg chg="mod">
          <ac:chgData name="CHEN JINGSI" userId="2c6a6994-749a-46da-a9cf-6c6b6bb4c573" providerId="ADAL" clId="{AF9FF4B5-C0CB-AE41-A71D-39792613AE17}" dt="2023-05-08T17:23:07.675" v="236" actId="2711"/>
          <ac:spMkLst>
            <pc:docMk/>
            <pc:sldMk cId="1887058106" sldId="354"/>
            <ac:spMk id="53" creationId="{DB814168-EA80-B6B5-6739-1F8AC6036BB4}"/>
          </ac:spMkLst>
        </pc:spChg>
        <pc:spChg chg="mod">
          <ac:chgData name="CHEN JINGSI" userId="2c6a6994-749a-46da-a9cf-6c6b6bb4c573" providerId="ADAL" clId="{AF9FF4B5-C0CB-AE41-A71D-39792613AE17}" dt="2023-05-08T17:23:38.117" v="239" actId="1076"/>
          <ac:spMkLst>
            <pc:docMk/>
            <pc:sldMk cId="1887058106" sldId="354"/>
            <ac:spMk id="54" creationId="{3B7352F6-353E-60DF-EE4D-7D8E89822E02}"/>
          </ac:spMkLst>
        </pc:spChg>
        <pc:spChg chg="mod">
          <ac:chgData name="CHEN JINGSI" userId="2c6a6994-749a-46da-a9cf-6c6b6bb4c573" providerId="ADAL" clId="{AF9FF4B5-C0CB-AE41-A71D-39792613AE17}" dt="2023-05-08T17:23:07.675" v="236" actId="2711"/>
          <ac:spMkLst>
            <pc:docMk/>
            <pc:sldMk cId="1887058106" sldId="354"/>
            <ac:spMk id="55" creationId="{DAA3C51D-0A6C-0410-25CF-CB50669E8634}"/>
          </ac:spMkLst>
        </pc:spChg>
        <pc:spChg chg="mod">
          <ac:chgData name="CHEN JINGSI" userId="2c6a6994-749a-46da-a9cf-6c6b6bb4c573" providerId="ADAL" clId="{AF9FF4B5-C0CB-AE41-A71D-39792613AE17}" dt="2023-05-08T17:23:07.675" v="236" actId="2711"/>
          <ac:spMkLst>
            <pc:docMk/>
            <pc:sldMk cId="1887058106" sldId="354"/>
            <ac:spMk id="56" creationId="{DC97AA49-F197-1471-35B4-617BF767465C}"/>
          </ac:spMkLst>
        </pc:spChg>
        <pc:spChg chg="mod">
          <ac:chgData name="CHEN JINGSI" userId="2c6a6994-749a-46da-a9cf-6c6b6bb4c573" providerId="ADAL" clId="{AF9FF4B5-C0CB-AE41-A71D-39792613AE17}" dt="2023-05-08T17:23:07.675" v="236" actId="2711"/>
          <ac:spMkLst>
            <pc:docMk/>
            <pc:sldMk cId="1887058106" sldId="354"/>
            <ac:spMk id="57" creationId="{38940853-D45A-05D0-E59F-E5601683E965}"/>
          </ac:spMkLst>
        </pc:spChg>
        <pc:spChg chg="mod">
          <ac:chgData name="CHEN JINGSI" userId="2c6a6994-749a-46da-a9cf-6c6b6bb4c573" providerId="ADAL" clId="{AF9FF4B5-C0CB-AE41-A71D-39792613AE17}" dt="2023-05-08T17:23:33.958" v="238" actId="1076"/>
          <ac:spMkLst>
            <pc:docMk/>
            <pc:sldMk cId="1887058106" sldId="354"/>
            <ac:spMk id="58" creationId="{A968D278-9775-7C05-C740-F9A6D21CC5DA}"/>
          </ac:spMkLst>
        </pc:spChg>
        <pc:grpChg chg="add mod">
          <ac:chgData name="CHEN JINGSI" userId="2c6a6994-749a-46da-a9cf-6c6b6bb4c573" providerId="ADAL" clId="{AF9FF4B5-C0CB-AE41-A71D-39792613AE17}" dt="2023-05-08T17:23:20.772" v="237" actId="1076"/>
          <ac:grpSpMkLst>
            <pc:docMk/>
            <pc:sldMk cId="1887058106" sldId="354"/>
            <ac:grpSpMk id="5" creationId="{0D88BFAA-EAFF-5165-FB85-8EF2B14EEEFA}"/>
          </ac:grpSpMkLst>
        </pc:grpChg>
        <pc:grpChg chg="mod">
          <ac:chgData name="CHEN JINGSI" userId="2c6a6994-749a-46da-a9cf-6c6b6bb4c573" providerId="ADAL" clId="{AF9FF4B5-C0CB-AE41-A71D-39792613AE17}" dt="2023-05-08T17:21:08.628" v="212"/>
          <ac:grpSpMkLst>
            <pc:docMk/>
            <pc:sldMk cId="1887058106" sldId="354"/>
            <ac:grpSpMk id="7" creationId="{F2A235A1-F79B-B918-35DC-FFF3E972C1AB}"/>
          </ac:grpSpMkLst>
        </pc:grpChg>
        <pc:grpChg chg="mod">
          <ac:chgData name="CHEN JINGSI" userId="2c6a6994-749a-46da-a9cf-6c6b6bb4c573" providerId="ADAL" clId="{AF9FF4B5-C0CB-AE41-A71D-39792613AE17}" dt="2023-05-08T17:21:08.628" v="212"/>
          <ac:grpSpMkLst>
            <pc:docMk/>
            <pc:sldMk cId="1887058106" sldId="354"/>
            <ac:grpSpMk id="18" creationId="{3C2EE207-B1E9-EEE9-E5CA-7AE184368EEE}"/>
          </ac:grpSpMkLst>
        </pc:grpChg>
        <pc:grpChg chg="mod">
          <ac:chgData name="CHEN JINGSI" userId="2c6a6994-749a-46da-a9cf-6c6b6bb4c573" providerId="ADAL" clId="{AF9FF4B5-C0CB-AE41-A71D-39792613AE17}" dt="2023-05-08T17:21:08.628" v="212"/>
          <ac:grpSpMkLst>
            <pc:docMk/>
            <pc:sldMk cId="1887058106" sldId="354"/>
            <ac:grpSpMk id="32" creationId="{D51B6DA8-7677-7417-5BE4-33099C2978F9}"/>
          </ac:grpSpMkLst>
        </pc:grpChg>
        <pc:grpChg chg="mod">
          <ac:chgData name="CHEN JINGSI" userId="2c6a6994-749a-46da-a9cf-6c6b6bb4c573" providerId="ADAL" clId="{AF9FF4B5-C0CB-AE41-A71D-39792613AE17}" dt="2023-05-08T17:21:08.628" v="212"/>
          <ac:grpSpMkLst>
            <pc:docMk/>
            <pc:sldMk cId="1887058106" sldId="354"/>
            <ac:grpSpMk id="36" creationId="{8040B7C4-1200-399F-D8E3-39D10AF6334C}"/>
          </ac:grpSpMkLst>
        </pc:grpChg>
        <pc:grpChg chg="mod">
          <ac:chgData name="CHEN JINGSI" userId="2c6a6994-749a-46da-a9cf-6c6b6bb4c573" providerId="ADAL" clId="{AF9FF4B5-C0CB-AE41-A71D-39792613AE17}" dt="2023-05-08T17:21:08.628" v="212"/>
          <ac:grpSpMkLst>
            <pc:docMk/>
            <pc:sldMk cId="1887058106" sldId="354"/>
            <ac:grpSpMk id="37" creationId="{C862EC8E-976B-C28D-2A3E-F11CFCA4F7E9}"/>
          </ac:grpSpMkLst>
        </pc:grpChg>
        <pc:grpChg chg="mod">
          <ac:chgData name="CHEN JINGSI" userId="2c6a6994-749a-46da-a9cf-6c6b6bb4c573" providerId="ADAL" clId="{AF9FF4B5-C0CB-AE41-A71D-39792613AE17}" dt="2023-05-08T17:21:08.628" v="212"/>
          <ac:grpSpMkLst>
            <pc:docMk/>
            <pc:sldMk cId="1887058106" sldId="354"/>
            <ac:grpSpMk id="38" creationId="{6A7D32B4-CC19-EDD8-7997-1FE8249FDC93}"/>
          </ac:grpSpMkLst>
        </pc:grpChg>
        <pc:grpChg chg="mod">
          <ac:chgData name="CHEN JINGSI" userId="2c6a6994-749a-46da-a9cf-6c6b6bb4c573" providerId="ADAL" clId="{AF9FF4B5-C0CB-AE41-A71D-39792613AE17}" dt="2023-05-08T17:21:08.628" v="212"/>
          <ac:grpSpMkLst>
            <pc:docMk/>
            <pc:sldMk cId="1887058106" sldId="354"/>
            <ac:grpSpMk id="39" creationId="{ABFF02F0-DA4D-E0ED-AE51-4D2D5AA7E9D5}"/>
          </ac:grpSpMkLst>
        </pc:grpChg>
        <pc:cxnChg chg="mod">
          <ac:chgData name="CHEN JINGSI" userId="2c6a6994-749a-46da-a9cf-6c6b6bb4c573" providerId="ADAL" clId="{AF9FF4B5-C0CB-AE41-A71D-39792613AE17}" dt="2023-05-08T17:21:08.628" v="212"/>
          <ac:cxnSpMkLst>
            <pc:docMk/>
            <pc:sldMk cId="1887058106" sldId="354"/>
            <ac:cxnSpMk id="33" creationId="{3F3DB4B3-F20C-7907-5259-BA88D099D0ED}"/>
          </ac:cxnSpMkLst>
        </pc:cxnChg>
      </pc:sldChg>
    </pc:docChg>
  </pc:docChgLst>
  <pc:docChgLst>
    <pc:chgData name="CHEN JINGSI" userId="S::s296135@studenti.polito.it::2c6a6994-749a-46da-a9cf-6c6b6bb4c573" providerId="AD" clId="Web-{9EBB6751-4530-4EE6-8891-E7F9B880C580}"/>
    <pc:docChg chg="addSld delSld modSld">
      <pc:chgData name="CHEN JINGSI" userId="S::s296135@studenti.polito.it::2c6a6994-749a-46da-a9cf-6c6b6bb4c573" providerId="AD" clId="Web-{9EBB6751-4530-4EE6-8891-E7F9B880C580}" dt="2023-05-17T11:40:14.708" v="8"/>
      <pc:docMkLst>
        <pc:docMk/>
      </pc:docMkLst>
      <pc:sldChg chg="del">
        <pc:chgData name="CHEN JINGSI" userId="S::s296135@studenti.polito.it::2c6a6994-749a-46da-a9cf-6c6b6bb4c573" providerId="AD" clId="Web-{9EBB6751-4530-4EE6-8891-E7F9B880C580}" dt="2023-05-17T11:37:30.155" v="2"/>
        <pc:sldMkLst>
          <pc:docMk/>
          <pc:sldMk cId="1887058106" sldId="354"/>
        </pc:sldMkLst>
      </pc:sldChg>
      <pc:sldChg chg="del">
        <pc:chgData name="CHEN JINGSI" userId="S::s296135@studenti.polito.it::2c6a6994-749a-46da-a9cf-6c6b6bb4c573" providerId="AD" clId="Web-{9EBB6751-4530-4EE6-8891-E7F9B880C580}" dt="2023-05-17T11:40:14.708" v="8"/>
        <pc:sldMkLst>
          <pc:docMk/>
          <pc:sldMk cId="2016988480" sldId="361"/>
        </pc:sldMkLst>
      </pc:sldChg>
      <pc:sldChg chg="del">
        <pc:chgData name="CHEN JINGSI" userId="S::s296135@studenti.polito.it::2c6a6994-749a-46da-a9cf-6c6b6bb4c573" providerId="AD" clId="Web-{9EBB6751-4530-4EE6-8891-E7F9B880C580}" dt="2023-05-17T11:37:34.874" v="3"/>
        <pc:sldMkLst>
          <pc:docMk/>
          <pc:sldMk cId="2477733356" sldId="363"/>
        </pc:sldMkLst>
      </pc:sldChg>
      <pc:sldChg chg="add">
        <pc:chgData name="CHEN JINGSI" userId="S::s296135@studenti.polito.it::2c6a6994-749a-46da-a9cf-6c6b6bb4c573" providerId="AD" clId="Web-{9EBB6751-4530-4EE6-8891-E7F9B880C580}" dt="2023-05-17T11:37:19.077" v="0"/>
        <pc:sldMkLst>
          <pc:docMk/>
          <pc:sldMk cId="565406761" sldId="364"/>
        </pc:sldMkLst>
      </pc:sldChg>
      <pc:sldChg chg="modSp add">
        <pc:chgData name="CHEN JINGSI" userId="S::s296135@studenti.polito.it::2c6a6994-749a-46da-a9cf-6c6b6bb4c573" providerId="AD" clId="Web-{9EBB6751-4530-4EE6-8891-E7F9B880C580}" dt="2023-05-17T11:37:46.750" v="6" actId="14100"/>
        <pc:sldMkLst>
          <pc:docMk/>
          <pc:sldMk cId="428395215" sldId="365"/>
        </pc:sldMkLst>
        <pc:spChg chg="mod">
          <ac:chgData name="CHEN JINGSI" userId="S::s296135@studenti.polito.it::2c6a6994-749a-46da-a9cf-6c6b6bb4c573" providerId="AD" clId="Web-{9EBB6751-4530-4EE6-8891-E7F9B880C580}" dt="2023-05-17T11:37:42.421" v="4" actId="14100"/>
          <ac:spMkLst>
            <pc:docMk/>
            <pc:sldMk cId="428395215" sldId="365"/>
            <ac:spMk id="61" creationId="{805979B4-BEC5-6D28-282E-E08C50D33D98}"/>
          </ac:spMkLst>
        </pc:spChg>
        <pc:spChg chg="mod">
          <ac:chgData name="CHEN JINGSI" userId="S::s296135@studenti.polito.it::2c6a6994-749a-46da-a9cf-6c6b6bb4c573" providerId="AD" clId="Web-{9EBB6751-4530-4EE6-8891-E7F9B880C580}" dt="2023-05-17T11:37:44.656" v="5" actId="14100"/>
          <ac:spMkLst>
            <pc:docMk/>
            <pc:sldMk cId="428395215" sldId="365"/>
            <ac:spMk id="68" creationId="{5E7C92F7-36D9-4BFC-1018-AA8BA2DD00E1}"/>
          </ac:spMkLst>
        </pc:spChg>
        <pc:spChg chg="mod">
          <ac:chgData name="CHEN JINGSI" userId="S::s296135@studenti.polito.it::2c6a6994-749a-46da-a9cf-6c6b6bb4c573" providerId="AD" clId="Web-{9EBB6751-4530-4EE6-8891-E7F9B880C580}" dt="2023-05-17T11:37:46.750" v="6" actId="14100"/>
          <ac:spMkLst>
            <pc:docMk/>
            <pc:sldMk cId="428395215" sldId="365"/>
            <ac:spMk id="73" creationId="{23535A03-839F-95CC-7E9A-580E00148811}"/>
          </ac:spMkLst>
        </pc:spChg>
      </pc:sldChg>
      <pc:sldChg chg="add">
        <pc:chgData name="CHEN JINGSI" userId="S::s296135@studenti.polito.it::2c6a6994-749a-46da-a9cf-6c6b6bb4c573" providerId="AD" clId="Web-{9EBB6751-4530-4EE6-8891-E7F9B880C580}" dt="2023-05-17T11:39:55.332" v="7"/>
        <pc:sldMkLst>
          <pc:docMk/>
          <pc:sldMk cId="1781359573" sldId="366"/>
        </pc:sldMkLst>
      </pc:sldChg>
    </pc:docChg>
  </pc:docChgLst>
  <pc:docChgLst>
    <pc:chgData name="HUANG LIN" userId="S::s301266@studenti.polito.it::1b5dcee7-0d99-405d-a0f0-637f14b99ad0" providerId="AD" clId="Web-{B28A5127-EBC5-4877-81CE-36EF7783919F}"/>
    <pc:docChg chg="modSld">
      <pc:chgData name="HUANG LIN" userId="S::s301266@studenti.polito.it::1b5dcee7-0d99-405d-a0f0-637f14b99ad0" providerId="AD" clId="Web-{B28A5127-EBC5-4877-81CE-36EF7783919F}" dt="2023-05-08T23:22:11.908" v="37" actId="1076"/>
      <pc:docMkLst>
        <pc:docMk/>
      </pc:docMkLst>
      <pc:sldChg chg="addSp delSp modSp">
        <pc:chgData name="HUANG LIN" userId="S::s301266@studenti.polito.it::1b5dcee7-0d99-405d-a0f0-637f14b99ad0" providerId="AD" clId="Web-{B28A5127-EBC5-4877-81CE-36EF7783919F}" dt="2023-05-08T23:22:11.908" v="37" actId="1076"/>
        <pc:sldMkLst>
          <pc:docMk/>
          <pc:sldMk cId="598547174" sldId="348"/>
        </pc:sldMkLst>
        <pc:spChg chg="mod">
          <ac:chgData name="HUANG LIN" userId="S::s301266@studenti.polito.it::1b5dcee7-0d99-405d-a0f0-637f14b99ad0" providerId="AD" clId="Web-{B28A5127-EBC5-4877-81CE-36EF7783919F}" dt="2023-05-08T23:21:52.782" v="32" actId="20577"/>
          <ac:spMkLst>
            <pc:docMk/>
            <pc:sldMk cId="598547174" sldId="348"/>
            <ac:spMk id="2" creationId="{5DC741E7-F1D6-B009-10CF-6058F6D0A583}"/>
          </ac:spMkLst>
        </pc:spChg>
        <pc:picChg chg="add mod">
          <ac:chgData name="HUANG LIN" userId="S::s301266@studenti.polito.it::1b5dcee7-0d99-405d-a0f0-637f14b99ad0" providerId="AD" clId="Web-{B28A5127-EBC5-4877-81CE-36EF7783919F}" dt="2023-05-08T23:22:11.908" v="37" actId="1076"/>
          <ac:picMkLst>
            <pc:docMk/>
            <pc:sldMk cId="598547174" sldId="348"/>
            <ac:picMk id="3" creationId="{0E7264EE-AABE-8B12-EAE3-72238A849DB2}"/>
          </ac:picMkLst>
        </pc:picChg>
        <pc:picChg chg="del mod">
          <ac:chgData name="HUANG LIN" userId="S::s301266@studenti.polito.it::1b5dcee7-0d99-405d-a0f0-637f14b99ad0" providerId="AD" clId="Web-{B28A5127-EBC5-4877-81CE-36EF7783919F}" dt="2023-05-08T23:18:59.215" v="2"/>
          <ac:picMkLst>
            <pc:docMk/>
            <pc:sldMk cId="598547174" sldId="348"/>
            <ac:picMk id="15" creationId="{468E46B9-A2FD-2003-029B-428616E5D854}"/>
          </ac:picMkLst>
        </pc:picChg>
      </pc:sldChg>
    </pc:docChg>
  </pc:docChgLst>
  <pc:docChgLst>
    <pc:chgData name="CHEN JINGSI" userId="S::s296135@studenti.polito.it::2c6a6994-749a-46da-a9cf-6c6b6bb4c573" providerId="AD" clId="Web-{F6489441-1951-49E1-97F4-8F24156F1052}"/>
    <pc:docChg chg="addSld delSld modSld">
      <pc:chgData name="CHEN JINGSI" userId="S::s296135@studenti.polito.it::2c6a6994-749a-46da-a9cf-6c6b6bb4c573" providerId="AD" clId="Web-{F6489441-1951-49E1-97F4-8F24156F1052}" dt="2023-05-16T18:11:42.374" v="32" actId="1076"/>
      <pc:docMkLst>
        <pc:docMk/>
      </pc:docMkLst>
      <pc:sldChg chg="modSp">
        <pc:chgData name="CHEN JINGSI" userId="S::s296135@studenti.polito.it::2c6a6994-749a-46da-a9cf-6c6b6bb4c573" providerId="AD" clId="Web-{F6489441-1951-49E1-97F4-8F24156F1052}" dt="2023-05-16T18:11:42.374" v="32" actId="1076"/>
        <pc:sldMkLst>
          <pc:docMk/>
          <pc:sldMk cId="2933125713" sldId="352"/>
        </pc:sldMkLst>
        <pc:spChg chg="mod">
          <ac:chgData name="CHEN JINGSI" userId="S::s296135@studenti.polito.it::2c6a6994-749a-46da-a9cf-6c6b6bb4c573" providerId="AD" clId="Web-{F6489441-1951-49E1-97F4-8F24156F1052}" dt="2023-05-16T18:11:42.374" v="32" actId="1076"/>
          <ac:spMkLst>
            <pc:docMk/>
            <pc:sldMk cId="2933125713" sldId="352"/>
            <ac:spMk id="48" creationId="{DD3B73DD-01C2-3793-024E-7E98B232AE2C}"/>
          </ac:spMkLst>
        </pc:spChg>
        <pc:grpChg chg="mod">
          <ac:chgData name="CHEN JINGSI" userId="S::s296135@studenti.polito.it::2c6a6994-749a-46da-a9cf-6c6b6bb4c573" providerId="AD" clId="Web-{F6489441-1951-49E1-97F4-8F24156F1052}" dt="2023-05-16T18:11:24.796" v="31" actId="1076"/>
          <ac:grpSpMkLst>
            <pc:docMk/>
            <pc:sldMk cId="2933125713" sldId="352"/>
            <ac:grpSpMk id="53" creationId="{A4C62DBC-8C47-AF6F-E233-9D4CD38B4022}"/>
          </ac:grpSpMkLst>
        </pc:grpChg>
      </pc:sldChg>
      <pc:sldChg chg="addSp delSp modSp del">
        <pc:chgData name="CHEN JINGSI" userId="S::s296135@studenti.polito.it::2c6a6994-749a-46da-a9cf-6c6b6bb4c573" providerId="AD" clId="Web-{F6489441-1951-49E1-97F4-8F24156F1052}" dt="2023-05-16T18:02:15.906" v="26"/>
        <pc:sldMkLst>
          <pc:docMk/>
          <pc:sldMk cId="1904998559" sldId="357"/>
        </pc:sldMkLst>
        <pc:picChg chg="mod">
          <ac:chgData name="CHEN JINGSI" userId="S::s296135@studenti.polito.it::2c6a6994-749a-46da-a9cf-6c6b6bb4c573" providerId="AD" clId="Web-{F6489441-1951-49E1-97F4-8F24156F1052}" dt="2023-05-16T17:57:49.337" v="24" actId="1076"/>
          <ac:picMkLst>
            <pc:docMk/>
            <pc:sldMk cId="1904998559" sldId="357"/>
            <ac:picMk id="5" creationId="{4121424B-A53C-054F-2FD3-327174D22144}"/>
          </ac:picMkLst>
        </pc:picChg>
        <pc:picChg chg="mod">
          <ac:chgData name="CHEN JINGSI" userId="S::s296135@studenti.polito.it::2c6a6994-749a-46da-a9cf-6c6b6bb4c573" providerId="AD" clId="Web-{F6489441-1951-49E1-97F4-8F24156F1052}" dt="2023-05-16T17:57:06.820" v="12" actId="1076"/>
          <ac:picMkLst>
            <pc:docMk/>
            <pc:sldMk cId="1904998559" sldId="357"/>
            <ac:picMk id="6" creationId="{A0E00ADA-565B-1D28-0FAD-19299323A3CB}"/>
          </ac:picMkLst>
        </pc:picChg>
        <pc:picChg chg="mod">
          <ac:chgData name="CHEN JINGSI" userId="S::s296135@studenti.polito.it::2c6a6994-749a-46da-a9cf-6c6b6bb4c573" providerId="AD" clId="Web-{F6489441-1951-49E1-97F4-8F24156F1052}" dt="2023-05-16T17:57:25.602" v="19" actId="1076"/>
          <ac:picMkLst>
            <pc:docMk/>
            <pc:sldMk cId="1904998559" sldId="357"/>
            <ac:picMk id="7" creationId="{E4C36C59-DFF4-DCBB-86E3-15551ED736EC}"/>
          </ac:picMkLst>
        </pc:picChg>
        <pc:picChg chg="add del mod">
          <ac:chgData name="CHEN JINGSI" userId="S::s296135@studenti.polito.it::2c6a6994-749a-46da-a9cf-6c6b6bb4c573" providerId="AD" clId="Web-{F6489441-1951-49E1-97F4-8F24156F1052}" dt="2023-05-16T17:57:27.180" v="20"/>
          <ac:picMkLst>
            <pc:docMk/>
            <pc:sldMk cId="1904998559" sldId="357"/>
            <ac:picMk id="8" creationId="{A5CBD001-C8DB-2F4A-7F5A-DFB64AF4C1F0}"/>
          </ac:picMkLst>
        </pc:picChg>
        <pc:picChg chg="add mod">
          <ac:chgData name="CHEN JINGSI" userId="S::s296135@studenti.polito.it::2c6a6994-749a-46da-a9cf-6c6b6bb4c573" providerId="AD" clId="Web-{F6489441-1951-49E1-97F4-8F24156F1052}" dt="2023-05-16T17:57:20.570" v="17" actId="1076"/>
          <ac:picMkLst>
            <pc:docMk/>
            <pc:sldMk cId="1904998559" sldId="357"/>
            <ac:picMk id="9" creationId="{6C796ABC-97BB-EDE6-638C-11D4F595B4EC}"/>
          </ac:picMkLst>
        </pc:picChg>
        <pc:picChg chg="add del mod">
          <ac:chgData name="CHEN JINGSI" userId="S::s296135@studenti.polito.it::2c6a6994-749a-46da-a9cf-6c6b6bb4c573" providerId="AD" clId="Web-{F6489441-1951-49E1-97F4-8F24156F1052}" dt="2023-05-16T17:56:54.117" v="9"/>
          <ac:picMkLst>
            <pc:docMk/>
            <pc:sldMk cId="1904998559" sldId="357"/>
            <ac:picMk id="11" creationId="{8AE707F7-D6F5-20F4-2FC9-4B2BEC61B226}"/>
          </ac:picMkLst>
        </pc:picChg>
        <pc:picChg chg="add mod">
          <ac:chgData name="CHEN JINGSI" userId="S::s296135@studenti.polito.it::2c6a6994-749a-46da-a9cf-6c6b6bb4c573" providerId="AD" clId="Web-{F6489441-1951-49E1-97F4-8F24156F1052}" dt="2023-05-16T17:57:41.993" v="23"/>
          <ac:picMkLst>
            <pc:docMk/>
            <pc:sldMk cId="1904998559" sldId="357"/>
            <ac:picMk id="17" creationId="{718B87E0-2CFC-48BE-FD80-334D8559FD8B}"/>
          </ac:picMkLst>
        </pc:picChg>
      </pc:sldChg>
      <pc:sldChg chg="modSp add">
        <pc:chgData name="CHEN JINGSI" userId="S::s296135@studenti.polito.it::2c6a6994-749a-46da-a9cf-6c6b6bb4c573" providerId="AD" clId="Web-{F6489441-1951-49E1-97F4-8F24156F1052}" dt="2023-05-16T18:10:03.653" v="29" actId="1076"/>
        <pc:sldMkLst>
          <pc:docMk/>
          <pc:sldMk cId="3335901182" sldId="360"/>
        </pc:sldMkLst>
        <pc:picChg chg="mod">
          <ac:chgData name="CHEN JINGSI" userId="S::s296135@studenti.polito.it::2c6a6994-749a-46da-a9cf-6c6b6bb4c573" providerId="AD" clId="Web-{F6489441-1951-49E1-97F4-8F24156F1052}" dt="2023-05-16T18:10:03.653" v="29" actId="1076"/>
          <ac:picMkLst>
            <pc:docMk/>
            <pc:sldMk cId="3335901182" sldId="360"/>
            <ac:picMk id="5" creationId="{4121424B-A53C-054F-2FD3-327174D22144}"/>
          </ac:picMkLst>
        </pc:picChg>
      </pc:sldChg>
    </pc:docChg>
  </pc:docChgLst>
  <pc:docChgLst>
    <pc:chgData name="HUANG LIN" userId="S::s301266@studenti.polito.it::1b5dcee7-0d99-405d-a0f0-637f14b99ad0" providerId="AD" clId="Web-{B96F5978-0933-491F-8D6F-D680E1181F89}"/>
    <pc:docChg chg="addSld modSld">
      <pc:chgData name="HUANG LIN" userId="S::s301266@studenti.polito.it::1b5dcee7-0d99-405d-a0f0-637f14b99ad0" providerId="AD" clId="Web-{B96F5978-0933-491F-8D6F-D680E1181F89}" dt="2023-05-09T00:00:10.663" v="195" actId="1076"/>
      <pc:docMkLst>
        <pc:docMk/>
      </pc:docMkLst>
      <pc:sldChg chg="addSp delSp modSp">
        <pc:chgData name="HUANG LIN" userId="S::s301266@studenti.polito.it::1b5dcee7-0d99-405d-a0f0-637f14b99ad0" providerId="AD" clId="Web-{B96F5978-0933-491F-8D6F-D680E1181F89}" dt="2023-05-09T00:00:10.663" v="195" actId="1076"/>
        <pc:sldMkLst>
          <pc:docMk/>
          <pc:sldMk cId="598547174" sldId="348"/>
        </pc:sldMkLst>
        <pc:spChg chg="del">
          <ac:chgData name="HUANG LIN" userId="S::s301266@studenti.polito.it::1b5dcee7-0d99-405d-a0f0-637f14b99ad0" providerId="AD" clId="Web-{B96F5978-0933-491F-8D6F-D680E1181F89}" dt="2023-05-08T23:27:03.276" v="16"/>
          <ac:spMkLst>
            <pc:docMk/>
            <pc:sldMk cId="598547174" sldId="348"/>
            <ac:spMk id="2" creationId="{5DC741E7-F1D6-B009-10CF-6058F6D0A583}"/>
          </ac:spMkLst>
        </pc:spChg>
        <pc:picChg chg="del mod modCrop">
          <ac:chgData name="HUANG LIN" userId="S::s301266@studenti.polito.it::1b5dcee7-0d99-405d-a0f0-637f14b99ad0" providerId="AD" clId="Web-{B96F5978-0933-491F-8D6F-D680E1181F89}" dt="2023-05-08T23:58:57.159" v="179"/>
          <ac:picMkLst>
            <pc:docMk/>
            <pc:sldMk cId="598547174" sldId="348"/>
            <ac:picMk id="3" creationId="{0E7264EE-AABE-8B12-EAE3-72238A849DB2}"/>
          </ac:picMkLst>
        </pc:picChg>
        <pc:picChg chg="add mod">
          <ac:chgData name="HUANG LIN" userId="S::s301266@studenti.polito.it::1b5dcee7-0d99-405d-a0f0-637f14b99ad0" providerId="AD" clId="Web-{B96F5978-0933-491F-8D6F-D680E1181F89}" dt="2023-05-09T00:00:08.772" v="194" actId="1076"/>
          <ac:picMkLst>
            <pc:docMk/>
            <pc:sldMk cId="598547174" sldId="348"/>
            <ac:picMk id="4" creationId="{A67BF5C1-A251-2DB2-EC17-A9DD9914A297}"/>
          </ac:picMkLst>
        </pc:picChg>
        <pc:picChg chg="add del mod">
          <ac:chgData name="HUANG LIN" userId="S::s301266@studenti.polito.it::1b5dcee7-0d99-405d-a0f0-637f14b99ad0" providerId="AD" clId="Web-{B96F5978-0933-491F-8D6F-D680E1181F89}" dt="2023-05-08T23:59:03.534" v="181"/>
          <ac:picMkLst>
            <pc:docMk/>
            <pc:sldMk cId="598547174" sldId="348"/>
            <ac:picMk id="5" creationId="{9C86B560-D267-BA94-5483-9EEF426ED896}"/>
          </ac:picMkLst>
        </pc:picChg>
        <pc:picChg chg="add mod">
          <ac:chgData name="HUANG LIN" userId="S::s301266@studenti.polito.it::1b5dcee7-0d99-405d-a0f0-637f14b99ad0" providerId="AD" clId="Web-{B96F5978-0933-491F-8D6F-D680E1181F89}" dt="2023-05-09T00:00:10.663" v="195" actId="1076"/>
          <ac:picMkLst>
            <pc:docMk/>
            <pc:sldMk cId="598547174" sldId="348"/>
            <ac:picMk id="6" creationId="{E19D80CB-3FC8-7BDC-221B-BFCA33059E5C}"/>
          </ac:picMkLst>
        </pc:picChg>
      </pc:sldChg>
      <pc:sldChg chg="addSp delSp modSp">
        <pc:chgData name="HUANG LIN" userId="S::s301266@studenti.polito.it::1b5dcee7-0d99-405d-a0f0-637f14b99ad0" providerId="AD" clId="Web-{B96F5978-0933-491F-8D6F-D680E1181F89}" dt="2023-05-08T23:54:23.822" v="166" actId="1076"/>
        <pc:sldMkLst>
          <pc:docMk/>
          <pc:sldMk cId="402974724" sldId="349"/>
        </pc:sldMkLst>
        <pc:spChg chg="del">
          <ac:chgData name="HUANG LIN" userId="S::s301266@studenti.polito.it::1b5dcee7-0d99-405d-a0f0-637f14b99ad0" providerId="AD" clId="Web-{B96F5978-0933-491F-8D6F-D680E1181F89}" dt="2023-05-08T23:23:44.129" v="1"/>
          <ac:spMkLst>
            <pc:docMk/>
            <pc:sldMk cId="402974724" sldId="349"/>
            <ac:spMk id="46" creationId="{9A9A5C2E-271B-C938-B541-A075F50FAE62}"/>
          </ac:spMkLst>
        </pc:spChg>
        <pc:grpChg chg="del">
          <ac:chgData name="HUANG LIN" userId="S::s301266@studenti.polito.it::1b5dcee7-0d99-405d-a0f0-637f14b99ad0" providerId="AD" clId="Web-{B96F5978-0933-491F-8D6F-D680E1181F89}" dt="2023-05-08T23:23:44.129" v="2"/>
          <ac:grpSpMkLst>
            <pc:docMk/>
            <pc:sldMk cId="402974724" sldId="349"/>
            <ac:grpSpMk id="27" creationId="{32823167-9920-8405-5607-7FED9D335A78}"/>
          </ac:grpSpMkLst>
        </pc:grpChg>
        <pc:picChg chg="add del mod">
          <ac:chgData name="HUANG LIN" userId="S::s301266@studenti.polito.it::1b5dcee7-0d99-405d-a0f0-637f14b99ad0" providerId="AD" clId="Web-{B96F5978-0933-491F-8D6F-D680E1181F89}" dt="2023-05-08T23:41:46.403" v="68"/>
          <ac:picMkLst>
            <pc:docMk/>
            <pc:sldMk cId="402974724" sldId="349"/>
            <ac:picMk id="7" creationId="{6E0BA438-5100-B790-4A06-849BD821E5A7}"/>
          </ac:picMkLst>
        </pc:picChg>
        <pc:picChg chg="add del mod">
          <ac:chgData name="HUANG LIN" userId="S::s301266@studenti.polito.it::1b5dcee7-0d99-405d-a0f0-637f14b99ad0" providerId="AD" clId="Web-{B96F5978-0933-491F-8D6F-D680E1181F89}" dt="2023-05-08T23:42:14.888" v="73"/>
          <ac:picMkLst>
            <pc:docMk/>
            <pc:sldMk cId="402974724" sldId="349"/>
            <ac:picMk id="8" creationId="{31ADBE97-C7F5-739B-CF2D-DC03DDCEB86A}"/>
          </ac:picMkLst>
        </pc:picChg>
        <pc:picChg chg="add del mod modCrop">
          <ac:chgData name="HUANG LIN" userId="S::s301266@studenti.polito.it::1b5dcee7-0d99-405d-a0f0-637f14b99ad0" providerId="AD" clId="Web-{B96F5978-0933-491F-8D6F-D680E1181F89}" dt="2023-05-08T23:47:02.210" v="105"/>
          <ac:picMkLst>
            <pc:docMk/>
            <pc:sldMk cId="402974724" sldId="349"/>
            <ac:picMk id="13" creationId="{0941BE46-62B2-F896-13B5-CA9B82F02EB6}"/>
          </ac:picMkLst>
        </pc:picChg>
        <pc:picChg chg="add mod">
          <ac:chgData name="HUANG LIN" userId="S::s301266@studenti.polito.it::1b5dcee7-0d99-405d-a0f0-637f14b99ad0" providerId="AD" clId="Web-{B96F5978-0933-491F-8D6F-D680E1181F89}" dt="2023-05-08T23:54:23.822" v="166" actId="1076"/>
          <ac:picMkLst>
            <pc:docMk/>
            <pc:sldMk cId="402974724" sldId="349"/>
            <ac:picMk id="28" creationId="{2F48CE8C-38CF-6626-B165-41CF3F28DD8A}"/>
          </ac:picMkLst>
        </pc:picChg>
        <pc:picChg chg="add del mod ord">
          <ac:chgData name="HUANG LIN" userId="S::s301266@studenti.polito.it::1b5dcee7-0d99-405d-a0f0-637f14b99ad0" providerId="AD" clId="Web-{B96F5978-0933-491F-8D6F-D680E1181F89}" dt="2023-05-08T23:49:19.058" v="127"/>
          <ac:picMkLst>
            <pc:docMk/>
            <pc:sldMk cId="402974724" sldId="349"/>
            <ac:picMk id="29" creationId="{BDE95F96-743B-2039-8607-86E5E95FA158}"/>
          </ac:picMkLst>
        </pc:picChg>
        <pc:picChg chg="add mod ord modCrop">
          <ac:chgData name="HUANG LIN" userId="S::s301266@studenti.polito.it::1b5dcee7-0d99-405d-a0f0-637f14b99ad0" providerId="AD" clId="Web-{B96F5978-0933-491F-8D6F-D680E1181F89}" dt="2023-05-08T23:53:24.300" v="158" actId="1076"/>
          <ac:picMkLst>
            <pc:docMk/>
            <pc:sldMk cId="402974724" sldId="349"/>
            <ac:picMk id="30" creationId="{D4B1A077-88AC-170D-F385-0F60A9E7A356}"/>
          </ac:picMkLst>
        </pc:picChg>
      </pc:sldChg>
      <pc:sldChg chg="addSp delSp modSp mod setBg">
        <pc:chgData name="HUANG LIN" userId="S::s301266@studenti.polito.it::1b5dcee7-0d99-405d-a0f0-637f14b99ad0" providerId="AD" clId="Web-{B96F5978-0933-491F-8D6F-D680E1181F89}" dt="2023-05-08T23:54:08.911" v="164" actId="1076"/>
        <pc:sldMkLst>
          <pc:docMk/>
          <pc:sldMk cId="2995164932" sldId="350"/>
        </pc:sldMkLst>
        <pc:spChg chg="mod">
          <ac:chgData name="HUANG LIN" userId="S::s301266@studenti.polito.it::1b5dcee7-0d99-405d-a0f0-637f14b99ad0" providerId="AD" clId="Web-{B96F5978-0933-491F-8D6F-D680E1181F89}" dt="2023-05-08T23:49:58.278" v="132"/>
          <ac:spMkLst>
            <pc:docMk/>
            <pc:sldMk cId="2995164932" sldId="350"/>
            <ac:spMk id="4" creationId="{F6731F8E-69D5-2ED0-DF0D-6B327010519B}"/>
          </ac:spMkLst>
        </pc:spChg>
        <pc:spChg chg="add del">
          <ac:chgData name="HUANG LIN" userId="S::s301266@studenti.polito.it::1b5dcee7-0d99-405d-a0f0-637f14b99ad0" providerId="AD" clId="Web-{B96F5978-0933-491F-8D6F-D680E1181F89}" dt="2023-05-08T23:49:58.278" v="132"/>
          <ac:spMkLst>
            <pc:docMk/>
            <pc:sldMk cId="2995164932" sldId="350"/>
            <ac:spMk id="25" creationId="{0DBF1ABE-8590-450D-BB49-BDDCCF3EEA9E}"/>
          </ac:spMkLst>
        </pc:spChg>
        <pc:spChg chg="add del">
          <ac:chgData name="HUANG LIN" userId="S::s301266@studenti.polito.it::1b5dcee7-0d99-405d-a0f0-637f14b99ad0" providerId="AD" clId="Web-{B96F5978-0933-491F-8D6F-D680E1181F89}" dt="2023-05-08T23:49:58.278" v="132"/>
          <ac:spMkLst>
            <pc:docMk/>
            <pc:sldMk cId="2995164932" sldId="350"/>
            <ac:spMk id="27" creationId="{441AAC8F-DDF5-413D-A80E-4FAF73EF56FA}"/>
          </ac:spMkLst>
        </pc:spChg>
        <pc:spChg chg="add del">
          <ac:chgData name="HUANG LIN" userId="S::s301266@studenti.polito.it::1b5dcee7-0d99-405d-a0f0-637f14b99ad0" providerId="AD" clId="Web-{B96F5978-0933-491F-8D6F-D680E1181F89}" dt="2023-05-08T23:49:58.278" v="132"/>
          <ac:spMkLst>
            <pc:docMk/>
            <pc:sldMk cId="2995164932" sldId="350"/>
            <ac:spMk id="29" creationId="{803B749B-7C91-4A70-9318-82A4EA18A774}"/>
          </ac:spMkLst>
        </pc:spChg>
        <pc:spChg chg="add del">
          <ac:chgData name="HUANG LIN" userId="S::s301266@studenti.polito.it::1b5dcee7-0d99-405d-a0f0-637f14b99ad0" providerId="AD" clId="Web-{B96F5978-0933-491F-8D6F-D680E1181F89}" dt="2023-05-08T23:49:58.278" v="132"/>
          <ac:spMkLst>
            <pc:docMk/>
            <pc:sldMk cId="2995164932" sldId="350"/>
            <ac:spMk id="31" creationId="{23444651-7CAB-437A-9DF1-EDE7DCF43C12}"/>
          </ac:spMkLst>
        </pc:spChg>
        <pc:spChg chg="add del">
          <ac:chgData name="HUANG LIN" userId="S::s301266@studenti.polito.it::1b5dcee7-0d99-405d-a0f0-637f14b99ad0" providerId="AD" clId="Web-{B96F5978-0933-491F-8D6F-D680E1181F89}" dt="2023-05-08T23:49:58.278" v="132"/>
          <ac:spMkLst>
            <pc:docMk/>
            <pc:sldMk cId="2995164932" sldId="350"/>
            <ac:spMk id="33" creationId="{5BEB0D00-4F7A-41D8-B15E-B42145EA9315}"/>
          </ac:spMkLst>
        </pc:spChg>
        <pc:spChg chg="add del">
          <ac:chgData name="HUANG LIN" userId="S::s301266@studenti.polito.it::1b5dcee7-0d99-405d-a0f0-637f14b99ad0" providerId="AD" clId="Web-{B96F5978-0933-491F-8D6F-D680E1181F89}" dt="2023-05-08T23:49:58.278" v="132"/>
          <ac:spMkLst>
            <pc:docMk/>
            <pc:sldMk cId="2995164932" sldId="350"/>
            <ac:spMk id="35" creationId="{95086C2D-811D-44A2-BE86-D996EFB9ACC0}"/>
          </ac:spMkLst>
        </pc:spChg>
        <pc:spChg chg="add del">
          <ac:chgData name="HUANG LIN" userId="S::s301266@studenti.polito.it::1b5dcee7-0d99-405d-a0f0-637f14b99ad0" providerId="AD" clId="Web-{B96F5978-0933-491F-8D6F-D680E1181F89}" dt="2023-05-08T23:49:58.278" v="132"/>
          <ac:spMkLst>
            <pc:docMk/>
            <pc:sldMk cId="2995164932" sldId="350"/>
            <ac:spMk id="37" creationId="{B3B994DF-9058-47C6-98CE-DF3EF5084E15}"/>
          </ac:spMkLst>
        </pc:spChg>
        <pc:grpChg chg="del">
          <ac:chgData name="HUANG LIN" userId="S::s301266@studenti.polito.it::1b5dcee7-0d99-405d-a0f0-637f14b99ad0" providerId="AD" clId="Web-{B96F5978-0933-491F-8D6F-D680E1181F89}" dt="2023-05-08T23:33:44.652" v="64"/>
          <ac:grpSpMkLst>
            <pc:docMk/>
            <pc:sldMk cId="2995164932" sldId="350"/>
            <ac:grpSpMk id="54" creationId="{3ED6DF7B-BCCD-00C6-9F49-2FC8C65CDB05}"/>
          </ac:grpSpMkLst>
        </pc:grpChg>
        <pc:picChg chg="add mod">
          <ac:chgData name="HUANG LIN" userId="S::s301266@studenti.polito.it::1b5dcee7-0d99-405d-a0f0-637f14b99ad0" providerId="AD" clId="Web-{B96F5978-0933-491F-8D6F-D680E1181F89}" dt="2023-05-08T23:54:07.489" v="163" actId="1076"/>
          <ac:picMkLst>
            <pc:docMk/>
            <pc:sldMk cId="2995164932" sldId="350"/>
            <ac:picMk id="3" creationId="{C9755640-43F7-FB3F-2DC1-728B21173E7B}"/>
          </ac:picMkLst>
        </pc:picChg>
        <pc:picChg chg="add del mod">
          <ac:chgData name="HUANG LIN" userId="S::s301266@studenti.polito.it::1b5dcee7-0d99-405d-a0f0-637f14b99ad0" providerId="AD" clId="Web-{B96F5978-0933-491F-8D6F-D680E1181F89}" dt="2023-05-08T23:50:01.013" v="133"/>
          <ac:picMkLst>
            <pc:docMk/>
            <pc:sldMk cId="2995164932" sldId="350"/>
            <ac:picMk id="6" creationId="{FEBA4C13-70D9-1140-180E-FBBAB26855CA}"/>
          </ac:picMkLst>
        </pc:picChg>
        <pc:picChg chg="add mod">
          <ac:chgData name="HUANG LIN" userId="S::s301266@studenti.polito.it::1b5dcee7-0d99-405d-a0f0-637f14b99ad0" providerId="AD" clId="Web-{B96F5978-0933-491F-8D6F-D680E1181F89}" dt="2023-05-08T23:54:08.911" v="164" actId="1076"/>
          <ac:picMkLst>
            <pc:docMk/>
            <pc:sldMk cId="2995164932" sldId="350"/>
            <ac:picMk id="8" creationId="{794FD554-B3F5-E355-298D-FF09AE4CE577}"/>
          </ac:picMkLst>
        </pc:picChg>
        <pc:picChg chg="mod">
          <ac:chgData name="HUANG LIN" userId="S::s301266@studenti.polito.it::1b5dcee7-0d99-405d-a0f0-637f14b99ad0" providerId="AD" clId="Web-{B96F5978-0933-491F-8D6F-D680E1181F89}" dt="2023-05-08T23:49:58.278" v="132"/>
          <ac:picMkLst>
            <pc:docMk/>
            <pc:sldMk cId="2995164932" sldId="350"/>
            <ac:picMk id="20" creationId="{F64265C0-A797-B8B7-2F0E-FEAB89FD525C}"/>
          </ac:picMkLst>
        </pc:picChg>
        <pc:picChg chg="del">
          <ac:chgData name="HUANG LIN" userId="S::s301266@studenti.polito.it::1b5dcee7-0d99-405d-a0f0-637f14b99ad0" providerId="AD" clId="Web-{B96F5978-0933-491F-8D6F-D680E1181F89}" dt="2023-05-08T23:33:40.652" v="63"/>
          <ac:picMkLst>
            <pc:docMk/>
            <pc:sldMk cId="2995164932" sldId="350"/>
            <ac:picMk id="24" creationId="{8E6FF798-6B1B-5852-AAFE-38F7C623BC58}"/>
          </ac:picMkLst>
        </pc:picChg>
      </pc:sldChg>
      <pc:sldChg chg="addSp delSp modSp add replId">
        <pc:chgData name="HUANG LIN" userId="S::s301266@studenti.polito.it::1b5dcee7-0d99-405d-a0f0-637f14b99ad0" providerId="AD" clId="Web-{B96F5978-0933-491F-8D6F-D680E1181F89}" dt="2023-05-08T23:30:28.767" v="60" actId="20577"/>
        <pc:sldMkLst>
          <pc:docMk/>
          <pc:sldMk cId="840243874" sldId="358"/>
        </pc:sldMkLst>
        <pc:spChg chg="mod">
          <ac:chgData name="HUANG LIN" userId="S::s301266@studenti.polito.it::1b5dcee7-0d99-405d-a0f0-637f14b99ad0" providerId="AD" clId="Web-{B96F5978-0933-491F-8D6F-D680E1181F89}" dt="2023-05-08T23:30:28.767" v="60" actId="20577"/>
          <ac:spMkLst>
            <pc:docMk/>
            <pc:sldMk cId="840243874" sldId="358"/>
            <ac:spMk id="2" creationId="{5DC741E7-F1D6-B009-10CF-6058F6D0A583}"/>
          </ac:spMkLst>
        </pc:spChg>
        <pc:spChg chg="mod">
          <ac:chgData name="HUANG LIN" userId="S::s301266@studenti.polito.it::1b5dcee7-0d99-405d-a0f0-637f14b99ad0" providerId="AD" clId="Web-{B96F5978-0933-491F-8D6F-D680E1181F89}" dt="2023-05-08T23:26:50.307" v="14" actId="20577"/>
          <ac:spMkLst>
            <pc:docMk/>
            <pc:sldMk cId="840243874" sldId="358"/>
            <ac:spMk id="19" creationId="{DCEA7726-7B1C-7E30-D838-35772280E2D3}"/>
          </ac:spMkLst>
        </pc:spChg>
        <pc:picChg chg="del">
          <ac:chgData name="HUANG LIN" userId="S::s301266@studenti.polito.it::1b5dcee7-0d99-405d-a0f0-637f14b99ad0" providerId="AD" clId="Web-{B96F5978-0933-491F-8D6F-D680E1181F89}" dt="2023-05-08T23:28:05.450" v="19"/>
          <ac:picMkLst>
            <pc:docMk/>
            <pc:sldMk cId="840243874" sldId="358"/>
            <ac:picMk id="3" creationId="{0E7264EE-AABE-8B12-EAE3-72238A849DB2}"/>
          </ac:picMkLst>
        </pc:picChg>
        <pc:picChg chg="add mod modCrop">
          <ac:chgData name="HUANG LIN" userId="S::s301266@studenti.polito.it::1b5dcee7-0d99-405d-a0f0-637f14b99ad0" providerId="AD" clId="Web-{B96F5978-0933-491F-8D6F-D680E1181F89}" dt="2023-05-08T23:30:05.298" v="54" actId="1076"/>
          <ac:picMkLst>
            <pc:docMk/>
            <pc:sldMk cId="840243874" sldId="358"/>
            <ac:picMk id="4" creationId="{8C3149BC-0D6D-4CF1-2803-10AD9EF79630}"/>
          </ac:picMkLst>
        </pc:picChg>
        <pc:picChg chg="mod">
          <ac:chgData name="HUANG LIN" userId="S::s301266@studenti.polito.it::1b5dcee7-0d99-405d-a0f0-637f14b99ad0" providerId="AD" clId="Web-{B96F5978-0933-491F-8D6F-D680E1181F89}" dt="2023-05-08T23:26:53.417" v="15" actId="1076"/>
          <ac:picMkLst>
            <pc:docMk/>
            <pc:sldMk cId="840243874" sldId="358"/>
            <ac:picMk id="16" creationId="{5F2C8C78-8A99-9C13-C01E-ED540BF01FEA}"/>
          </ac:picMkLst>
        </pc:picChg>
      </pc:sldChg>
    </pc:docChg>
  </pc:docChgLst>
  <pc:docChgLst>
    <pc:chgData name="YIN JUN" userId="S::s296134@studenti.polito.it::40f53ba7-6859-4e15-b6a0-4f636ac10741" providerId="AD" clId="Web-{3DBB60D5-04FD-4B6F-A8A7-1BF6119F092A}"/>
    <pc:docChg chg="addSld delSld modSld">
      <pc:chgData name="YIN JUN" userId="S::s296134@studenti.polito.it::40f53ba7-6859-4e15-b6a0-4f636ac10741" providerId="AD" clId="Web-{3DBB60D5-04FD-4B6F-A8A7-1BF6119F092A}" dt="2023-05-16T23:01:39.775" v="42"/>
      <pc:docMkLst>
        <pc:docMk/>
      </pc:docMkLst>
      <pc:sldChg chg="del">
        <pc:chgData name="YIN JUN" userId="S::s296134@studenti.polito.it::40f53ba7-6859-4e15-b6a0-4f636ac10741" providerId="AD" clId="Web-{3DBB60D5-04FD-4B6F-A8A7-1BF6119F092A}" dt="2023-05-16T23:01:39.775" v="42"/>
        <pc:sldMkLst>
          <pc:docMk/>
          <pc:sldMk cId="2954245266" sldId="355"/>
        </pc:sldMkLst>
      </pc:sldChg>
      <pc:sldChg chg="del">
        <pc:chgData name="YIN JUN" userId="S::s296134@studenti.polito.it::40f53ba7-6859-4e15-b6a0-4f636ac10741" providerId="AD" clId="Web-{3DBB60D5-04FD-4B6F-A8A7-1BF6119F092A}" dt="2023-05-16T22:51:01.849" v="1"/>
        <pc:sldMkLst>
          <pc:docMk/>
          <pc:sldMk cId="3335901182" sldId="360"/>
        </pc:sldMkLst>
      </pc:sldChg>
      <pc:sldChg chg="modSp">
        <pc:chgData name="YIN JUN" userId="S::s296134@studenti.polito.it::40f53ba7-6859-4e15-b6a0-4f636ac10741" providerId="AD" clId="Web-{3DBB60D5-04FD-4B6F-A8A7-1BF6119F092A}" dt="2023-05-16T23:00:28.835" v="41"/>
        <pc:sldMkLst>
          <pc:docMk/>
          <pc:sldMk cId="3747817912" sldId="362"/>
        </pc:sldMkLst>
        <pc:graphicFrameChg chg="mod modGraphic">
          <ac:chgData name="YIN JUN" userId="S::s296134@studenti.polito.it::40f53ba7-6859-4e15-b6a0-4f636ac10741" providerId="AD" clId="Web-{3DBB60D5-04FD-4B6F-A8A7-1BF6119F092A}" dt="2023-05-16T23:00:28.835" v="41"/>
          <ac:graphicFrameMkLst>
            <pc:docMk/>
            <pc:sldMk cId="3747817912" sldId="362"/>
            <ac:graphicFrameMk id="7" creationId="{7D8A467F-B93F-3591-D4D3-C24F8692036A}"/>
          </ac:graphicFrameMkLst>
        </pc:graphicFrameChg>
      </pc:sldChg>
      <pc:sldChg chg="modSp add">
        <pc:chgData name="YIN JUN" userId="S::s296134@studenti.polito.it::40f53ba7-6859-4e15-b6a0-4f636ac10741" providerId="AD" clId="Web-{3DBB60D5-04FD-4B6F-A8A7-1BF6119F092A}" dt="2023-05-16T22:59:26.802" v="3" actId="14100"/>
        <pc:sldMkLst>
          <pc:docMk/>
          <pc:sldMk cId="2477733356" sldId="363"/>
        </pc:sldMkLst>
        <pc:picChg chg="mod">
          <ac:chgData name="YIN JUN" userId="S::s296134@studenti.polito.it::40f53ba7-6859-4e15-b6a0-4f636ac10741" providerId="AD" clId="Web-{3DBB60D5-04FD-4B6F-A8A7-1BF6119F092A}" dt="2023-05-16T22:59:26.802" v="3" actId="14100"/>
          <ac:picMkLst>
            <pc:docMk/>
            <pc:sldMk cId="2477733356" sldId="363"/>
            <ac:picMk id="32" creationId="{987315D0-05E8-80EF-C4C5-DDFE6DBAF203}"/>
          </ac:picMkLst>
        </pc:picChg>
      </pc:sldChg>
    </pc:docChg>
  </pc:docChgLst>
  <pc:docChgLst>
    <pc:chgData name="YIN JUN" userId="40f53ba7-6859-4e15-b6a0-4f636ac10741" providerId="ADAL" clId="{C9722A85-F1E4-9048-BE8D-8E0EBCAB989B}"/>
    <pc:docChg chg="undo custSel modSld">
      <pc:chgData name="YIN JUN" userId="40f53ba7-6859-4e15-b6a0-4f636ac10741" providerId="ADAL" clId="{C9722A85-F1E4-9048-BE8D-8E0EBCAB989B}" dt="2023-10-23T10:44:38.795" v="475" actId="1076"/>
      <pc:docMkLst>
        <pc:docMk/>
      </pc:docMkLst>
      <pc:sldChg chg="modSp mod">
        <pc:chgData name="YIN JUN" userId="40f53ba7-6859-4e15-b6a0-4f636ac10741" providerId="ADAL" clId="{C9722A85-F1E4-9048-BE8D-8E0EBCAB989B}" dt="2023-10-23T10:44:38.795" v="475" actId="1076"/>
        <pc:sldMkLst>
          <pc:docMk/>
          <pc:sldMk cId="2514733596" sldId="368"/>
        </pc:sldMkLst>
        <pc:spChg chg="mod">
          <ac:chgData name="YIN JUN" userId="40f53ba7-6859-4e15-b6a0-4f636ac10741" providerId="ADAL" clId="{C9722A85-F1E4-9048-BE8D-8E0EBCAB989B}" dt="2023-10-23T10:44:32.941" v="474" actId="1076"/>
          <ac:spMkLst>
            <pc:docMk/>
            <pc:sldMk cId="2514733596" sldId="368"/>
            <ac:spMk id="7" creationId="{49B9EEB3-60F3-732C-B290-7EA1C8CFA0DF}"/>
          </ac:spMkLst>
        </pc:spChg>
        <pc:spChg chg="mod">
          <ac:chgData name="YIN JUN" userId="40f53ba7-6859-4e15-b6a0-4f636ac10741" providerId="ADAL" clId="{C9722A85-F1E4-9048-BE8D-8E0EBCAB989B}" dt="2023-10-23T10:44:38.795" v="475" actId="1076"/>
          <ac:spMkLst>
            <pc:docMk/>
            <pc:sldMk cId="2514733596" sldId="368"/>
            <ac:spMk id="23" creationId="{76A7C948-C80B-5829-DE5B-AC624D851D3A}"/>
          </ac:spMkLst>
        </pc:spChg>
        <pc:picChg chg="mod">
          <ac:chgData name="YIN JUN" userId="40f53ba7-6859-4e15-b6a0-4f636ac10741" providerId="ADAL" clId="{C9722A85-F1E4-9048-BE8D-8E0EBCAB989B}" dt="2023-10-23T10:44:38.795" v="475" actId="1076"/>
          <ac:picMkLst>
            <pc:docMk/>
            <pc:sldMk cId="2514733596" sldId="368"/>
            <ac:picMk id="14" creationId="{DBB64D9D-D733-BF5B-4747-E553E6A7D071}"/>
          </ac:picMkLst>
        </pc:picChg>
        <pc:picChg chg="mod">
          <ac:chgData name="YIN JUN" userId="40f53ba7-6859-4e15-b6a0-4f636ac10741" providerId="ADAL" clId="{C9722A85-F1E4-9048-BE8D-8E0EBCAB989B}" dt="2023-10-23T10:44:38.795" v="475" actId="1076"/>
          <ac:picMkLst>
            <pc:docMk/>
            <pc:sldMk cId="2514733596" sldId="368"/>
            <ac:picMk id="16" creationId="{5E3AEADC-FA26-FEF8-0827-EB57BD0B055E}"/>
          </ac:picMkLst>
        </pc:picChg>
      </pc:sldChg>
      <pc:sldChg chg="addSp delSp modSp mod">
        <pc:chgData name="YIN JUN" userId="40f53ba7-6859-4e15-b6a0-4f636ac10741" providerId="ADAL" clId="{C9722A85-F1E4-9048-BE8D-8E0EBCAB989B}" dt="2023-10-23T10:44:18.989" v="472" actId="20577"/>
        <pc:sldMkLst>
          <pc:docMk/>
          <pc:sldMk cId="3176898786" sldId="370"/>
        </pc:sldMkLst>
        <pc:spChg chg="mod">
          <ac:chgData name="YIN JUN" userId="40f53ba7-6859-4e15-b6a0-4f636ac10741" providerId="ADAL" clId="{C9722A85-F1E4-9048-BE8D-8E0EBCAB989B}" dt="2023-10-23T08:55:02.065" v="324" actId="20577"/>
          <ac:spMkLst>
            <pc:docMk/>
            <pc:sldMk cId="3176898786" sldId="370"/>
            <ac:spMk id="2" creationId="{00000000-0000-0000-0000-000000000000}"/>
          </ac:spMkLst>
        </pc:spChg>
        <pc:spChg chg="add del mod">
          <ac:chgData name="YIN JUN" userId="40f53ba7-6859-4e15-b6a0-4f636ac10741" providerId="ADAL" clId="{C9722A85-F1E4-9048-BE8D-8E0EBCAB989B}" dt="2023-10-23T10:44:18.989" v="472" actId="20577"/>
          <ac:spMkLst>
            <pc:docMk/>
            <pc:sldMk cId="3176898786" sldId="370"/>
            <ac:spMk id="3" creationId="{6E752789-406C-AEE9-F69E-09711FF61770}"/>
          </ac:spMkLst>
        </pc:spChg>
      </pc:sldChg>
    </pc:docChg>
  </pc:docChgLst>
  <pc:docChgLst>
    <pc:chgData name="YIN JUN" userId="S::s296134@studenti.polito.it::40f53ba7-6859-4e15-b6a0-4f636ac10741" providerId="AD" clId="Web-{2A3D9539-A1A6-48DF-8D5C-2DBFB3BA65B7}"/>
    <pc:docChg chg="modSld">
      <pc:chgData name="YIN JUN" userId="S::s296134@studenti.polito.it::40f53ba7-6859-4e15-b6a0-4f636ac10741" providerId="AD" clId="Web-{2A3D9539-A1A6-48DF-8D5C-2DBFB3BA65B7}" dt="2023-05-16T18:04:55.055" v="4" actId="20577"/>
      <pc:docMkLst>
        <pc:docMk/>
      </pc:docMkLst>
      <pc:sldChg chg="modSp">
        <pc:chgData name="YIN JUN" userId="S::s296134@studenti.polito.it::40f53ba7-6859-4e15-b6a0-4f636ac10741" providerId="AD" clId="Web-{2A3D9539-A1A6-48DF-8D5C-2DBFB3BA65B7}" dt="2023-05-16T18:04:55.055" v="4" actId="20577"/>
        <pc:sldMkLst>
          <pc:docMk/>
          <pc:sldMk cId="3335901182" sldId="360"/>
        </pc:sldMkLst>
        <pc:spChg chg="mod">
          <ac:chgData name="YIN JUN" userId="S::s296134@studenti.polito.it::40f53ba7-6859-4e15-b6a0-4f636ac10741" providerId="AD" clId="Web-{2A3D9539-A1A6-48DF-8D5C-2DBFB3BA65B7}" dt="2023-05-16T18:04:55.055" v="4" actId="20577"/>
          <ac:spMkLst>
            <pc:docMk/>
            <pc:sldMk cId="3335901182" sldId="360"/>
            <ac:spMk id="6" creationId="{9C55B4C8-04E9-9A8D-C642-861683C1126C}"/>
          </ac:spMkLst>
        </pc:spChg>
      </pc:sldChg>
    </pc:docChg>
  </pc:docChgLst>
  <pc:docChgLst>
    <pc:chgData name="YIN JUN" userId="S::s296134@studenti.polito.it::40f53ba7-6859-4e15-b6a0-4f636ac10741" providerId="AD" clId="Web-{0F9AE705-2D7B-43F1-8BB8-182B84F20DBC}"/>
    <pc:docChg chg="modSld">
      <pc:chgData name="YIN JUN" userId="S::s296134@studenti.polito.it::40f53ba7-6859-4e15-b6a0-4f636ac10741" providerId="AD" clId="Web-{0F9AE705-2D7B-43F1-8BB8-182B84F20DBC}" dt="2023-05-16T17:56:37.432" v="4" actId="1076"/>
      <pc:docMkLst>
        <pc:docMk/>
      </pc:docMkLst>
      <pc:sldChg chg="modSp">
        <pc:chgData name="YIN JUN" userId="S::s296134@studenti.polito.it::40f53ba7-6859-4e15-b6a0-4f636ac10741" providerId="AD" clId="Web-{0F9AE705-2D7B-43F1-8BB8-182B84F20DBC}" dt="2023-05-16T17:56:37.432" v="4" actId="1076"/>
        <pc:sldMkLst>
          <pc:docMk/>
          <pc:sldMk cId="1904998559" sldId="357"/>
        </pc:sldMkLst>
        <pc:picChg chg="mod">
          <ac:chgData name="YIN JUN" userId="S::s296134@studenti.polito.it::40f53ba7-6859-4e15-b6a0-4f636ac10741" providerId="AD" clId="Web-{0F9AE705-2D7B-43F1-8BB8-182B84F20DBC}" dt="2023-05-16T17:55:42.334" v="2" actId="1076"/>
          <ac:picMkLst>
            <pc:docMk/>
            <pc:sldMk cId="1904998559" sldId="357"/>
            <ac:picMk id="5" creationId="{4121424B-A53C-054F-2FD3-327174D22144}"/>
          </ac:picMkLst>
        </pc:picChg>
        <pc:picChg chg="mod">
          <ac:chgData name="YIN JUN" userId="S::s296134@studenti.polito.it::40f53ba7-6859-4e15-b6a0-4f636ac10741" providerId="AD" clId="Web-{0F9AE705-2D7B-43F1-8BB8-182B84F20DBC}" dt="2023-05-16T17:56:35.197" v="3" actId="1076"/>
          <ac:picMkLst>
            <pc:docMk/>
            <pc:sldMk cId="1904998559" sldId="357"/>
            <ac:picMk id="6" creationId="{A0E00ADA-565B-1D28-0FAD-19299323A3CB}"/>
          </ac:picMkLst>
        </pc:picChg>
        <pc:picChg chg="mod">
          <ac:chgData name="YIN JUN" userId="S::s296134@studenti.polito.it::40f53ba7-6859-4e15-b6a0-4f636ac10741" providerId="AD" clId="Web-{0F9AE705-2D7B-43F1-8BB8-182B84F20DBC}" dt="2023-05-16T17:55:36.521" v="0" actId="1076"/>
          <ac:picMkLst>
            <pc:docMk/>
            <pc:sldMk cId="1904998559" sldId="357"/>
            <ac:picMk id="7" creationId="{E4C36C59-DFF4-DCBB-86E3-15551ED736EC}"/>
          </ac:picMkLst>
        </pc:picChg>
        <pc:picChg chg="mod">
          <ac:chgData name="YIN JUN" userId="S::s296134@studenti.polito.it::40f53ba7-6859-4e15-b6a0-4f636ac10741" providerId="AD" clId="Web-{0F9AE705-2D7B-43F1-8BB8-182B84F20DBC}" dt="2023-05-16T17:56:37.432" v="4" actId="1076"/>
          <ac:picMkLst>
            <pc:docMk/>
            <pc:sldMk cId="1904998559" sldId="357"/>
            <ac:picMk id="11" creationId="{8AE707F7-D6F5-20F4-2FC9-4B2BEC61B226}"/>
          </ac:picMkLst>
        </pc:picChg>
      </pc:sldChg>
    </pc:docChg>
  </pc:docChgLst>
  <pc:docChgLst>
    <pc:chgData name="CHEN JINGSI" userId="2c6a6994-749a-46da-a9cf-6c6b6bb4c573" providerId="ADAL" clId="{DD493BD8-4BD7-A143-86F6-3B7B220F2C19}"/>
    <pc:docChg chg="undo custSel addSld modSld">
      <pc:chgData name="CHEN JINGSI" userId="2c6a6994-749a-46da-a9cf-6c6b6bb4c573" providerId="ADAL" clId="{DD493BD8-4BD7-A143-86F6-3B7B220F2C19}" dt="2023-05-08T20:39:00.958" v="490" actId="113"/>
      <pc:docMkLst>
        <pc:docMk/>
      </pc:docMkLst>
      <pc:sldChg chg="modSp mod">
        <pc:chgData name="CHEN JINGSI" userId="2c6a6994-749a-46da-a9cf-6c6b6bb4c573" providerId="ADAL" clId="{DD493BD8-4BD7-A143-86F6-3B7B220F2C19}" dt="2023-05-08T19:55:11.680" v="14" actId="20577"/>
        <pc:sldMkLst>
          <pc:docMk/>
          <pc:sldMk cId="0" sldId="256"/>
        </pc:sldMkLst>
        <pc:spChg chg="mod">
          <ac:chgData name="CHEN JINGSI" userId="2c6a6994-749a-46da-a9cf-6c6b6bb4c573" providerId="ADAL" clId="{DD493BD8-4BD7-A143-86F6-3B7B220F2C19}" dt="2023-05-08T19:55:11.680" v="14" actId="20577"/>
          <ac:spMkLst>
            <pc:docMk/>
            <pc:sldMk cId="0" sldId="256"/>
            <ac:spMk id="10" creationId="{C15AF6EE-87AD-3326-8977-BAAD70FBF8A0}"/>
          </ac:spMkLst>
        </pc:spChg>
      </pc:sldChg>
      <pc:sldChg chg="modSp">
        <pc:chgData name="CHEN JINGSI" userId="2c6a6994-749a-46da-a9cf-6c6b6bb4c573" providerId="ADAL" clId="{DD493BD8-4BD7-A143-86F6-3B7B220F2C19}" dt="2023-05-08T20:07:11.866" v="52"/>
        <pc:sldMkLst>
          <pc:docMk/>
          <pc:sldMk cId="2698664924" sldId="318"/>
        </pc:sldMkLst>
        <pc:graphicFrameChg chg="mod">
          <ac:chgData name="CHEN JINGSI" userId="2c6a6994-749a-46da-a9cf-6c6b6bb4c573" providerId="ADAL" clId="{DD493BD8-4BD7-A143-86F6-3B7B220F2C19}" dt="2023-05-08T20:07:11.866" v="52"/>
          <ac:graphicFrameMkLst>
            <pc:docMk/>
            <pc:sldMk cId="2698664924" sldId="318"/>
            <ac:graphicFrameMk id="18" creationId="{4FA32BF4-CC4B-4E91-FE4D-9A18B2134C90}"/>
          </ac:graphicFrameMkLst>
        </pc:graphicFrameChg>
      </pc:sldChg>
      <pc:sldChg chg="modSp">
        <pc:chgData name="CHEN JINGSI" userId="2c6a6994-749a-46da-a9cf-6c6b6bb4c573" providerId="ADAL" clId="{DD493BD8-4BD7-A143-86F6-3B7B220F2C19}" dt="2023-05-08T20:07:04.264" v="49"/>
        <pc:sldMkLst>
          <pc:docMk/>
          <pc:sldMk cId="4045649330" sldId="319"/>
        </pc:sldMkLst>
        <pc:graphicFrameChg chg="mod">
          <ac:chgData name="CHEN JINGSI" userId="2c6a6994-749a-46da-a9cf-6c6b6bb4c573" providerId="ADAL" clId="{DD493BD8-4BD7-A143-86F6-3B7B220F2C19}" dt="2023-05-08T20:07:04.264" v="49"/>
          <ac:graphicFrameMkLst>
            <pc:docMk/>
            <pc:sldMk cId="4045649330" sldId="319"/>
            <ac:graphicFrameMk id="18" creationId="{4FA32BF4-CC4B-4E91-FE4D-9A18B2134C90}"/>
          </ac:graphicFrameMkLst>
        </pc:graphicFrameChg>
      </pc:sldChg>
      <pc:sldChg chg="modSp">
        <pc:chgData name="CHEN JINGSI" userId="2c6a6994-749a-46da-a9cf-6c6b6bb4c573" providerId="ADAL" clId="{DD493BD8-4BD7-A143-86F6-3B7B220F2C19}" dt="2023-05-08T20:07:26.215" v="61" actId="20577"/>
        <pc:sldMkLst>
          <pc:docMk/>
          <pc:sldMk cId="2108862298" sldId="321"/>
        </pc:sldMkLst>
        <pc:graphicFrameChg chg="mod">
          <ac:chgData name="CHEN JINGSI" userId="2c6a6994-749a-46da-a9cf-6c6b6bb4c573" providerId="ADAL" clId="{DD493BD8-4BD7-A143-86F6-3B7B220F2C19}" dt="2023-05-08T20:07:26.215" v="61" actId="20577"/>
          <ac:graphicFrameMkLst>
            <pc:docMk/>
            <pc:sldMk cId="2108862298" sldId="321"/>
            <ac:graphicFrameMk id="18" creationId="{4FA32BF4-CC4B-4E91-FE4D-9A18B2134C90}"/>
          </ac:graphicFrameMkLst>
        </pc:graphicFrameChg>
      </pc:sldChg>
      <pc:sldChg chg="modSp">
        <pc:chgData name="CHEN JINGSI" userId="2c6a6994-749a-46da-a9cf-6c6b6bb4c573" providerId="ADAL" clId="{DD493BD8-4BD7-A143-86F6-3B7B220F2C19}" dt="2023-05-08T20:07:36.870" v="67" actId="20577"/>
        <pc:sldMkLst>
          <pc:docMk/>
          <pc:sldMk cId="852764204" sldId="322"/>
        </pc:sldMkLst>
        <pc:graphicFrameChg chg="mod">
          <ac:chgData name="CHEN JINGSI" userId="2c6a6994-749a-46da-a9cf-6c6b6bb4c573" providerId="ADAL" clId="{DD493BD8-4BD7-A143-86F6-3B7B220F2C19}" dt="2023-05-08T20:07:36.870" v="67" actId="20577"/>
          <ac:graphicFrameMkLst>
            <pc:docMk/>
            <pc:sldMk cId="852764204" sldId="322"/>
            <ac:graphicFrameMk id="18" creationId="{4FA32BF4-CC4B-4E91-FE4D-9A18B2134C90}"/>
          </ac:graphicFrameMkLst>
        </pc:graphicFrameChg>
      </pc:sldChg>
      <pc:sldChg chg="modSp">
        <pc:chgData name="CHEN JINGSI" userId="2c6a6994-749a-46da-a9cf-6c6b6bb4c573" providerId="ADAL" clId="{DD493BD8-4BD7-A143-86F6-3B7B220F2C19}" dt="2023-05-08T20:06:44.880" v="43" actId="20577"/>
        <pc:sldMkLst>
          <pc:docMk/>
          <pc:sldMk cId="3431435819" sldId="325"/>
        </pc:sldMkLst>
        <pc:graphicFrameChg chg="mod">
          <ac:chgData name="CHEN JINGSI" userId="2c6a6994-749a-46da-a9cf-6c6b6bb4c573" providerId="ADAL" clId="{DD493BD8-4BD7-A143-86F6-3B7B220F2C19}" dt="2023-05-08T20:06:44.880" v="43" actId="20577"/>
          <ac:graphicFrameMkLst>
            <pc:docMk/>
            <pc:sldMk cId="3431435819" sldId="325"/>
            <ac:graphicFrameMk id="18" creationId="{4FA32BF4-CC4B-4E91-FE4D-9A18B2134C90}"/>
          </ac:graphicFrameMkLst>
        </pc:graphicFrameChg>
      </pc:sldChg>
      <pc:sldChg chg="modSp mod">
        <pc:chgData name="CHEN JINGSI" userId="2c6a6994-749a-46da-a9cf-6c6b6bb4c573" providerId="ADAL" clId="{DD493BD8-4BD7-A143-86F6-3B7B220F2C19}" dt="2023-05-08T20:09:29.589" v="175" actId="20577"/>
        <pc:sldMkLst>
          <pc:docMk/>
          <pc:sldMk cId="2122089933" sldId="332"/>
        </pc:sldMkLst>
        <pc:spChg chg="mod">
          <ac:chgData name="CHEN JINGSI" userId="2c6a6994-749a-46da-a9cf-6c6b6bb4c573" providerId="ADAL" clId="{DD493BD8-4BD7-A143-86F6-3B7B220F2C19}" dt="2023-05-08T20:09:29.589" v="175" actId="20577"/>
          <ac:spMkLst>
            <pc:docMk/>
            <pc:sldMk cId="2122089933" sldId="332"/>
            <ac:spMk id="2" creationId="{00000000-0000-0000-0000-000000000000}"/>
          </ac:spMkLst>
        </pc:spChg>
      </pc:sldChg>
      <pc:sldChg chg="modSp mod modNotesTx">
        <pc:chgData name="CHEN JINGSI" userId="2c6a6994-749a-46da-a9cf-6c6b6bb4c573" providerId="ADAL" clId="{DD493BD8-4BD7-A143-86F6-3B7B220F2C19}" dt="2023-05-08T20:10:01.305" v="187" actId="20577"/>
        <pc:sldMkLst>
          <pc:docMk/>
          <pc:sldMk cId="3186716803" sldId="333"/>
        </pc:sldMkLst>
        <pc:spChg chg="mod">
          <ac:chgData name="CHEN JINGSI" userId="2c6a6994-749a-46da-a9cf-6c6b6bb4c573" providerId="ADAL" clId="{DD493BD8-4BD7-A143-86F6-3B7B220F2C19}" dt="2023-05-08T20:09:54.552" v="186" actId="20577"/>
          <ac:spMkLst>
            <pc:docMk/>
            <pc:sldMk cId="3186716803" sldId="333"/>
            <ac:spMk id="2" creationId="{00000000-0000-0000-0000-000000000000}"/>
          </ac:spMkLst>
        </pc:spChg>
      </pc:sldChg>
      <pc:sldChg chg="addSp delSp modSp mod">
        <pc:chgData name="CHEN JINGSI" userId="2c6a6994-749a-46da-a9cf-6c6b6bb4c573" providerId="ADAL" clId="{DD493BD8-4BD7-A143-86F6-3B7B220F2C19}" dt="2023-05-08T20:39:00.958" v="490" actId="113"/>
        <pc:sldMkLst>
          <pc:docMk/>
          <pc:sldMk cId="24899032" sldId="338"/>
        </pc:sldMkLst>
        <pc:spChg chg="mod">
          <ac:chgData name="CHEN JINGSI" userId="2c6a6994-749a-46da-a9cf-6c6b6bb4c573" providerId="ADAL" clId="{DD493BD8-4BD7-A143-86F6-3B7B220F2C19}" dt="2023-05-08T20:12:02.941" v="214" actId="20577"/>
          <ac:spMkLst>
            <pc:docMk/>
            <pc:sldMk cId="24899032" sldId="338"/>
            <ac:spMk id="2" creationId="{00000000-0000-0000-0000-000000000000}"/>
          </ac:spMkLst>
        </pc:spChg>
        <pc:spChg chg="del mod">
          <ac:chgData name="CHEN JINGSI" userId="2c6a6994-749a-46da-a9cf-6c6b6bb4c573" providerId="ADAL" clId="{DD493BD8-4BD7-A143-86F6-3B7B220F2C19}" dt="2023-05-08T20:25:59.148" v="323" actId="478"/>
          <ac:spMkLst>
            <pc:docMk/>
            <pc:sldMk cId="24899032" sldId="338"/>
            <ac:spMk id="6" creationId="{3CCC3C84-E348-3BEA-0AED-89D933D95A65}"/>
          </ac:spMkLst>
        </pc:spChg>
        <pc:spChg chg="add del mod">
          <ac:chgData name="CHEN JINGSI" userId="2c6a6994-749a-46da-a9cf-6c6b6bb4c573" providerId="ADAL" clId="{DD493BD8-4BD7-A143-86F6-3B7B220F2C19}" dt="2023-05-08T20:34:45.659" v="441" actId="478"/>
          <ac:spMkLst>
            <pc:docMk/>
            <pc:sldMk cId="24899032" sldId="338"/>
            <ac:spMk id="7" creationId="{5B2009E3-9EDC-0F42-8618-47905C67FD29}"/>
          </ac:spMkLst>
        </pc:spChg>
        <pc:spChg chg="mod">
          <ac:chgData name="CHEN JINGSI" userId="2c6a6994-749a-46da-a9cf-6c6b6bb4c573" providerId="ADAL" clId="{DD493BD8-4BD7-A143-86F6-3B7B220F2C19}" dt="2023-05-08T19:59:36.595" v="15" actId="1076"/>
          <ac:spMkLst>
            <pc:docMk/>
            <pc:sldMk cId="24899032" sldId="338"/>
            <ac:spMk id="9" creationId="{A7780947-0E2D-78A8-EB94-60C5B0743DC0}"/>
          </ac:spMkLst>
        </pc:spChg>
        <pc:spChg chg="add mod">
          <ac:chgData name="CHEN JINGSI" userId="2c6a6994-749a-46da-a9cf-6c6b6bb4c573" providerId="ADAL" clId="{DD493BD8-4BD7-A143-86F6-3B7B220F2C19}" dt="2023-05-08T20:30:47.909" v="378" actId="1037"/>
          <ac:spMkLst>
            <pc:docMk/>
            <pc:sldMk cId="24899032" sldId="338"/>
            <ac:spMk id="10" creationId="{2C11FF79-A8FC-141F-583C-E7C333E8AC2D}"/>
          </ac:spMkLst>
        </pc:spChg>
        <pc:spChg chg="mod">
          <ac:chgData name="CHEN JINGSI" userId="2c6a6994-749a-46da-a9cf-6c6b6bb4c573" providerId="ADAL" clId="{DD493BD8-4BD7-A143-86F6-3B7B220F2C19}" dt="2023-05-08T19:59:42.588" v="16" actId="1076"/>
          <ac:spMkLst>
            <pc:docMk/>
            <pc:sldMk cId="24899032" sldId="338"/>
            <ac:spMk id="12" creationId="{CE7BA196-60F0-2B05-8FCC-6A0EFD5EC709}"/>
          </ac:spMkLst>
        </pc:spChg>
        <pc:spChg chg="add mod">
          <ac:chgData name="CHEN JINGSI" userId="2c6a6994-749a-46da-a9cf-6c6b6bb4c573" providerId="ADAL" clId="{DD493BD8-4BD7-A143-86F6-3B7B220F2C19}" dt="2023-05-08T20:29:50.479" v="370" actId="164"/>
          <ac:spMkLst>
            <pc:docMk/>
            <pc:sldMk cId="24899032" sldId="338"/>
            <ac:spMk id="27" creationId="{7887396F-AAB8-61FA-7928-8B0F3053EEF5}"/>
          </ac:spMkLst>
        </pc:spChg>
        <pc:spChg chg="mod">
          <ac:chgData name="CHEN JINGSI" userId="2c6a6994-749a-46da-a9cf-6c6b6bb4c573" providerId="ADAL" clId="{DD493BD8-4BD7-A143-86F6-3B7B220F2C19}" dt="2023-05-08T20:32:05.661" v="425" actId="1076"/>
          <ac:spMkLst>
            <pc:docMk/>
            <pc:sldMk cId="24899032" sldId="338"/>
            <ac:spMk id="28" creationId="{DFA9FCB5-0C15-2F9E-DA08-A0BA5E0AE23D}"/>
          </ac:spMkLst>
        </pc:spChg>
        <pc:spChg chg="add mod">
          <ac:chgData name="CHEN JINGSI" userId="2c6a6994-749a-46da-a9cf-6c6b6bb4c573" providerId="ADAL" clId="{DD493BD8-4BD7-A143-86F6-3B7B220F2C19}" dt="2023-05-08T20:32:44.558" v="432" actId="164"/>
          <ac:spMkLst>
            <pc:docMk/>
            <pc:sldMk cId="24899032" sldId="338"/>
            <ac:spMk id="30" creationId="{2D75A363-9428-131F-9A0E-7807E486CD93}"/>
          </ac:spMkLst>
        </pc:spChg>
        <pc:spChg chg="mod">
          <ac:chgData name="CHEN JINGSI" userId="2c6a6994-749a-46da-a9cf-6c6b6bb4c573" providerId="ADAL" clId="{DD493BD8-4BD7-A143-86F6-3B7B220F2C19}" dt="2023-05-08T20:31:08.947" v="389" actId="14100"/>
          <ac:spMkLst>
            <pc:docMk/>
            <pc:sldMk cId="24899032" sldId="338"/>
            <ac:spMk id="32" creationId="{8C711EA6-D4F4-CAAE-ACED-9E21066BB77C}"/>
          </ac:spMkLst>
        </pc:spChg>
        <pc:spChg chg="mod">
          <ac:chgData name="CHEN JINGSI" userId="2c6a6994-749a-46da-a9cf-6c6b6bb4c573" providerId="ADAL" clId="{DD493BD8-4BD7-A143-86F6-3B7B220F2C19}" dt="2023-05-08T20:32:03.389" v="424" actId="1076"/>
          <ac:spMkLst>
            <pc:docMk/>
            <pc:sldMk cId="24899032" sldId="338"/>
            <ac:spMk id="33" creationId="{4FECA5D3-E5BA-727B-2F80-BE21A790464D}"/>
          </ac:spMkLst>
        </pc:spChg>
        <pc:spChg chg="mod">
          <ac:chgData name="CHEN JINGSI" userId="2c6a6994-749a-46da-a9cf-6c6b6bb4c573" providerId="ADAL" clId="{DD493BD8-4BD7-A143-86F6-3B7B220F2C19}" dt="2023-05-08T20:31:32.075" v="404" actId="20577"/>
          <ac:spMkLst>
            <pc:docMk/>
            <pc:sldMk cId="24899032" sldId="338"/>
            <ac:spMk id="34" creationId="{C1601AC1-9FA9-BD1E-EF96-6D1894948179}"/>
          </ac:spMkLst>
        </pc:spChg>
        <pc:spChg chg="add mod">
          <ac:chgData name="CHEN JINGSI" userId="2c6a6994-749a-46da-a9cf-6c6b6bb4c573" providerId="ADAL" clId="{DD493BD8-4BD7-A143-86F6-3B7B220F2C19}" dt="2023-05-08T20:39:00.958" v="490" actId="113"/>
          <ac:spMkLst>
            <pc:docMk/>
            <pc:sldMk cId="24899032" sldId="338"/>
            <ac:spMk id="36" creationId="{EF180F64-4B76-6FFD-50AA-4408ABA9CDCC}"/>
          </ac:spMkLst>
        </pc:spChg>
        <pc:spChg chg="add mod">
          <ac:chgData name="CHEN JINGSI" userId="2c6a6994-749a-46da-a9cf-6c6b6bb4c573" providerId="ADAL" clId="{DD493BD8-4BD7-A143-86F6-3B7B220F2C19}" dt="2023-05-08T20:38:56.600" v="488" actId="14100"/>
          <ac:spMkLst>
            <pc:docMk/>
            <pc:sldMk cId="24899032" sldId="338"/>
            <ac:spMk id="37" creationId="{0E48CF3E-78CA-75DD-556E-C3927B82833D}"/>
          </ac:spMkLst>
        </pc:spChg>
        <pc:spChg chg="add mod">
          <ac:chgData name="CHEN JINGSI" userId="2c6a6994-749a-46da-a9cf-6c6b6bb4c573" providerId="ADAL" clId="{DD493BD8-4BD7-A143-86F6-3B7B220F2C19}" dt="2023-05-08T20:38:34.916" v="480" actId="207"/>
          <ac:spMkLst>
            <pc:docMk/>
            <pc:sldMk cId="24899032" sldId="338"/>
            <ac:spMk id="38" creationId="{AD72AC42-1493-CC3D-1665-5B281266BDAB}"/>
          </ac:spMkLst>
        </pc:spChg>
        <pc:spChg chg="mod">
          <ac:chgData name="CHEN JINGSI" userId="2c6a6994-749a-46da-a9cf-6c6b6bb4c573" providerId="ADAL" clId="{DD493BD8-4BD7-A143-86F6-3B7B220F2C19}" dt="2023-05-08T20:30:53.710" v="383" actId="1038"/>
          <ac:spMkLst>
            <pc:docMk/>
            <pc:sldMk cId="24899032" sldId="338"/>
            <ac:spMk id="40" creationId="{C9E1D60A-A28C-AE66-FADB-380ECAEB47A3}"/>
          </ac:spMkLst>
        </pc:spChg>
        <pc:spChg chg="mod">
          <ac:chgData name="CHEN JINGSI" userId="2c6a6994-749a-46da-a9cf-6c6b6bb4c573" providerId="ADAL" clId="{DD493BD8-4BD7-A143-86F6-3B7B220F2C19}" dt="2023-05-08T20:31:00.712" v="385" actId="1038"/>
          <ac:spMkLst>
            <pc:docMk/>
            <pc:sldMk cId="24899032" sldId="338"/>
            <ac:spMk id="42" creationId="{940D8ECE-FD86-6788-66A0-DCCC250B835C}"/>
          </ac:spMkLst>
        </pc:spChg>
        <pc:spChg chg="mod">
          <ac:chgData name="CHEN JINGSI" userId="2c6a6994-749a-46da-a9cf-6c6b6bb4c573" providerId="ADAL" clId="{DD493BD8-4BD7-A143-86F6-3B7B220F2C19}" dt="2023-05-08T20:29:50.479" v="370" actId="164"/>
          <ac:spMkLst>
            <pc:docMk/>
            <pc:sldMk cId="24899032" sldId="338"/>
            <ac:spMk id="43" creationId="{C3391B28-5B9E-2AE1-52B0-B18B14266ACB}"/>
          </ac:spMkLst>
        </pc:spChg>
        <pc:grpChg chg="mod">
          <ac:chgData name="CHEN JINGSI" userId="2c6a6994-749a-46da-a9cf-6c6b6bb4c573" providerId="ADAL" clId="{DD493BD8-4BD7-A143-86F6-3B7B220F2C19}" dt="2023-05-08T20:29:50.479" v="370" actId="164"/>
          <ac:grpSpMkLst>
            <pc:docMk/>
            <pc:sldMk cId="24899032" sldId="338"/>
            <ac:grpSpMk id="26" creationId="{B1D181CC-764B-FE69-969D-364EBB641E7E}"/>
          </ac:grpSpMkLst>
        </pc:grpChg>
        <pc:grpChg chg="add mod">
          <ac:chgData name="CHEN JINGSI" userId="2c6a6994-749a-46da-a9cf-6c6b6bb4c573" providerId="ADAL" clId="{DD493BD8-4BD7-A143-86F6-3B7B220F2C19}" dt="2023-05-08T20:32:44.558" v="432" actId="164"/>
          <ac:grpSpMkLst>
            <pc:docMk/>
            <pc:sldMk cId="24899032" sldId="338"/>
            <ac:grpSpMk id="29" creationId="{A814D67B-EF6B-4F8C-9B84-CC25DC3E8126}"/>
          </ac:grpSpMkLst>
        </pc:grpChg>
        <pc:grpChg chg="add mod">
          <ac:chgData name="CHEN JINGSI" userId="2c6a6994-749a-46da-a9cf-6c6b6bb4c573" providerId="ADAL" clId="{DD493BD8-4BD7-A143-86F6-3B7B220F2C19}" dt="2023-05-08T20:35:50.225" v="450" actId="1076"/>
          <ac:grpSpMkLst>
            <pc:docMk/>
            <pc:sldMk cId="24899032" sldId="338"/>
            <ac:grpSpMk id="31" creationId="{3F3C0EC7-5A26-7887-A78B-A78A7C815167}"/>
          </ac:grpSpMkLst>
        </pc:grpChg>
        <pc:picChg chg="mod">
          <ac:chgData name="CHEN JINGSI" userId="2c6a6994-749a-46da-a9cf-6c6b6bb4c573" providerId="ADAL" clId="{DD493BD8-4BD7-A143-86F6-3B7B220F2C19}" dt="2023-05-08T20:35:21.974" v="443" actId="1076"/>
          <ac:picMkLst>
            <pc:docMk/>
            <pc:sldMk cId="24899032" sldId="338"/>
            <ac:picMk id="11" creationId="{3D218603-B7BB-E43D-30FD-6AF53E302303}"/>
          </ac:picMkLst>
        </pc:picChg>
      </pc:sldChg>
      <pc:sldChg chg="modSp mod">
        <pc:chgData name="CHEN JINGSI" userId="2c6a6994-749a-46da-a9cf-6c6b6bb4c573" providerId="ADAL" clId="{DD493BD8-4BD7-A143-86F6-3B7B220F2C19}" dt="2023-05-08T20:10:41.266" v="196" actId="20577"/>
        <pc:sldMkLst>
          <pc:docMk/>
          <pc:sldMk cId="565063595" sldId="340"/>
        </pc:sldMkLst>
        <pc:spChg chg="mod">
          <ac:chgData name="CHEN JINGSI" userId="2c6a6994-749a-46da-a9cf-6c6b6bb4c573" providerId="ADAL" clId="{DD493BD8-4BD7-A143-86F6-3B7B220F2C19}" dt="2023-05-08T20:10:41.266" v="196" actId="20577"/>
          <ac:spMkLst>
            <pc:docMk/>
            <pc:sldMk cId="565063595" sldId="340"/>
            <ac:spMk id="2" creationId="{00000000-0000-0000-0000-000000000000}"/>
          </ac:spMkLst>
        </pc:spChg>
      </pc:sldChg>
      <pc:sldChg chg="modSp mod">
        <pc:chgData name="CHEN JINGSI" userId="2c6a6994-749a-46da-a9cf-6c6b6bb4c573" providerId="ADAL" clId="{DD493BD8-4BD7-A143-86F6-3B7B220F2C19}" dt="2023-05-08T20:10:48.848" v="197" actId="20577"/>
        <pc:sldMkLst>
          <pc:docMk/>
          <pc:sldMk cId="126589775" sldId="345"/>
        </pc:sldMkLst>
        <pc:spChg chg="mod">
          <ac:chgData name="CHEN JINGSI" userId="2c6a6994-749a-46da-a9cf-6c6b6bb4c573" providerId="ADAL" clId="{DD493BD8-4BD7-A143-86F6-3B7B220F2C19}" dt="2023-05-08T20:10:48.848" v="197" actId="20577"/>
          <ac:spMkLst>
            <pc:docMk/>
            <pc:sldMk cId="126589775" sldId="345"/>
            <ac:spMk id="2" creationId="{00000000-0000-0000-0000-000000000000}"/>
          </ac:spMkLst>
        </pc:spChg>
      </pc:sldChg>
      <pc:sldChg chg="modSp mod">
        <pc:chgData name="CHEN JINGSI" userId="2c6a6994-749a-46da-a9cf-6c6b6bb4c573" providerId="ADAL" clId="{DD493BD8-4BD7-A143-86F6-3B7B220F2C19}" dt="2023-05-08T20:10:26.631" v="191" actId="20577"/>
        <pc:sldMkLst>
          <pc:docMk/>
          <pc:sldMk cId="2933125713" sldId="352"/>
        </pc:sldMkLst>
        <pc:spChg chg="mod">
          <ac:chgData name="CHEN JINGSI" userId="2c6a6994-749a-46da-a9cf-6c6b6bb4c573" providerId="ADAL" clId="{DD493BD8-4BD7-A143-86F6-3B7B220F2C19}" dt="2023-05-08T20:10:26.631" v="191" actId="20577"/>
          <ac:spMkLst>
            <pc:docMk/>
            <pc:sldMk cId="2933125713" sldId="352"/>
            <ac:spMk id="2" creationId="{00000000-0000-0000-0000-000000000000}"/>
          </ac:spMkLst>
        </pc:spChg>
      </pc:sldChg>
      <pc:sldChg chg="modNotesTx">
        <pc:chgData name="CHEN JINGSI" userId="2c6a6994-749a-46da-a9cf-6c6b6bb4c573" providerId="ADAL" clId="{DD493BD8-4BD7-A143-86F6-3B7B220F2C19}" dt="2023-05-08T20:08:56.185" v="170" actId="20577"/>
        <pc:sldMkLst>
          <pc:docMk/>
          <pc:sldMk cId="2483509572" sldId="353"/>
        </pc:sldMkLst>
      </pc:sldChg>
      <pc:sldChg chg="modSp mod">
        <pc:chgData name="CHEN JINGSI" userId="2c6a6994-749a-46da-a9cf-6c6b6bb4c573" providerId="ADAL" clId="{DD493BD8-4BD7-A143-86F6-3B7B220F2C19}" dt="2023-05-08T20:10:31.444" v="195" actId="20577"/>
        <pc:sldMkLst>
          <pc:docMk/>
          <pc:sldMk cId="1887058106" sldId="354"/>
        </pc:sldMkLst>
        <pc:spChg chg="mod">
          <ac:chgData name="CHEN JINGSI" userId="2c6a6994-749a-46da-a9cf-6c6b6bb4c573" providerId="ADAL" clId="{DD493BD8-4BD7-A143-86F6-3B7B220F2C19}" dt="2023-05-08T20:10:31.444" v="195" actId="20577"/>
          <ac:spMkLst>
            <pc:docMk/>
            <pc:sldMk cId="1887058106" sldId="354"/>
            <ac:spMk id="2" creationId="{00000000-0000-0000-0000-000000000000}"/>
          </ac:spMkLst>
        </pc:spChg>
      </pc:sldChg>
      <pc:sldChg chg="delSp modSp add mod">
        <pc:chgData name="CHEN JINGSI" userId="2c6a6994-749a-46da-a9cf-6c6b6bb4c573" providerId="ADAL" clId="{DD493BD8-4BD7-A143-86F6-3B7B220F2C19}" dt="2023-05-08T20:11:05.564" v="210" actId="20577"/>
        <pc:sldMkLst>
          <pc:docMk/>
          <pc:sldMk cId="2954245266" sldId="355"/>
        </pc:sldMkLst>
        <pc:spChg chg="mod">
          <ac:chgData name="CHEN JINGSI" userId="2c6a6994-749a-46da-a9cf-6c6b6bb4c573" providerId="ADAL" clId="{DD493BD8-4BD7-A143-86F6-3B7B220F2C19}" dt="2023-05-08T20:11:05.564" v="210" actId="20577"/>
          <ac:spMkLst>
            <pc:docMk/>
            <pc:sldMk cId="2954245266" sldId="355"/>
            <ac:spMk id="2" creationId="{00000000-0000-0000-0000-000000000000}"/>
          </ac:spMkLst>
        </pc:spChg>
        <pc:spChg chg="del">
          <ac:chgData name="CHEN JINGSI" userId="2c6a6994-749a-46da-a9cf-6c6b6bb4c573" providerId="ADAL" clId="{DD493BD8-4BD7-A143-86F6-3B7B220F2C19}" dt="2023-05-08T20:10:58.340" v="200" actId="478"/>
          <ac:spMkLst>
            <pc:docMk/>
            <pc:sldMk cId="2954245266" sldId="355"/>
            <ac:spMk id="7" creationId="{3B86F339-C48E-7335-81B4-1B1FFF81CD19}"/>
          </ac:spMkLst>
        </pc:spChg>
        <pc:picChg chg="del">
          <ac:chgData name="CHEN JINGSI" userId="2c6a6994-749a-46da-a9cf-6c6b6bb4c573" providerId="ADAL" clId="{DD493BD8-4BD7-A143-86F6-3B7B220F2C19}" dt="2023-05-08T20:10:56.862" v="199" actId="478"/>
          <ac:picMkLst>
            <pc:docMk/>
            <pc:sldMk cId="2954245266" sldId="355"/>
            <ac:picMk id="9" creationId="{F8BE53EE-9E6C-457C-31D0-6F27458CDB19}"/>
          </ac:picMkLst>
        </pc:picChg>
        <pc:picChg chg="del">
          <ac:chgData name="CHEN JINGSI" userId="2c6a6994-749a-46da-a9cf-6c6b6bb4c573" providerId="ADAL" clId="{DD493BD8-4BD7-A143-86F6-3B7B220F2C19}" dt="2023-05-08T20:10:59.062" v="201" actId="478"/>
          <ac:picMkLst>
            <pc:docMk/>
            <pc:sldMk cId="2954245266" sldId="355"/>
            <ac:picMk id="10" creationId="{5903794A-3D2D-133F-ABD7-5BBE56C50851}"/>
          </ac:picMkLst>
        </pc:picChg>
      </pc:sldChg>
      <pc:sldChg chg="delSp modSp add mod">
        <pc:chgData name="CHEN JINGSI" userId="2c6a6994-749a-46da-a9cf-6c6b6bb4c573" providerId="ADAL" clId="{DD493BD8-4BD7-A143-86F6-3B7B220F2C19}" dt="2023-05-08T20:16:05.226" v="236" actId="207"/>
        <pc:sldMkLst>
          <pc:docMk/>
          <pc:sldMk cId="324668933" sldId="356"/>
        </pc:sldMkLst>
        <pc:spChg chg="mod">
          <ac:chgData name="CHEN JINGSI" userId="2c6a6994-749a-46da-a9cf-6c6b6bb4c573" providerId="ADAL" clId="{DD493BD8-4BD7-A143-86F6-3B7B220F2C19}" dt="2023-05-08T20:14:59.583" v="226" actId="20577"/>
          <ac:spMkLst>
            <pc:docMk/>
            <pc:sldMk cId="324668933" sldId="356"/>
            <ac:spMk id="2" creationId="{00000000-0000-0000-0000-000000000000}"/>
          </ac:spMkLst>
        </pc:spChg>
        <pc:spChg chg="del">
          <ac:chgData name="CHEN JINGSI" userId="2c6a6994-749a-46da-a9cf-6c6b6bb4c573" providerId="ADAL" clId="{DD493BD8-4BD7-A143-86F6-3B7B220F2C19}" dt="2023-05-08T20:15:20.956" v="230" actId="478"/>
          <ac:spMkLst>
            <pc:docMk/>
            <pc:sldMk cId="324668933" sldId="356"/>
            <ac:spMk id="11" creationId="{6F1FE2F3-EE9B-F60F-16D3-3D5FDF31797D}"/>
          </ac:spMkLst>
        </pc:spChg>
        <pc:spChg chg="del">
          <ac:chgData name="CHEN JINGSI" userId="2c6a6994-749a-46da-a9cf-6c6b6bb4c573" providerId="ADAL" clId="{DD493BD8-4BD7-A143-86F6-3B7B220F2C19}" dt="2023-05-08T20:15:11.303" v="229" actId="478"/>
          <ac:spMkLst>
            <pc:docMk/>
            <pc:sldMk cId="324668933" sldId="356"/>
            <ac:spMk id="26" creationId="{DEBFFDCB-C9A3-D23B-AA95-98463B140246}"/>
          </ac:spMkLst>
        </pc:spChg>
        <pc:spChg chg="mod">
          <ac:chgData name="CHEN JINGSI" userId="2c6a6994-749a-46da-a9cf-6c6b6bb4c573" providerId="ADAL" clId="{DD493BD8-4BD7-A143-86F6-3B7B220F2C19}" dt="2023-05-08T20:15:50.813" v="234" actId="207"/>
          <ac:spMkLst>
            <pc:docMk/>
            <pc:sldMk cId="324668933" sldId="356"/>
            <ac:spMk id="32" creationId="{65F158BF-737D-0E04-123C-FDED11EA1492}"/>
          </ac:spMkLst>
        </pc:spChg>
        <pc:spChg chg="mod">
          <ac:chgData name="CHEN JINGSI" userId="2c6a6994-749a-46da-a9cf-6c6b6bb4c573" providerId="ADAL" clId="{DD493BD8-4BD7-A143-86F6-3B7B220F2C19}" dt="2023-05-08T20:16:05.226" v="236" actId="207"/>
          <ac:spMkLst>
            <pc:docMk/>
            <pc:sldMk cId="324668933" sldId="356"/>
            <ac:spMk id="41" creationId="{6BFF0187-9C55-2864-733A-E686C13A855B}"/>
          </ac:spMkLst>
        </pc:spChg>
        <pc:grpChg chg="del">
          <ac:chgData name="CHEN JINGSI" userId="2c6a6994-749a-46da-a9cf-6c6b6bb4c573" providerId="ADAL" clId="{DD493BD8-4BD7-A143-86F6-3B7B220F2C19}" dt="2023-05-08T20:15:09.904" v="228" actId="478"/>
          <ac:grpSpMkLst>
            <pc:docMk/>
            <pc:sldMk cId="324668933" sldId="356"/>
            <ac:grpSpMk id="24" creationId="{DC9A4268-0E5D-ADF3-7156-B3A3E88059C2}"/>
          </ac:grpSpMkLst>
        </pc:grpChg>
        <pc:grpChg chg="del">
          <ac:chgData name="CHEN JINGSI" userId="2c6a6994-749a-46da-a9cf-6c6b6bb4c573" providerId="ADAL" clId="{DD493BD8-4BD7-A143-86F6-3B7B220F2C19}" dt="2023-05-08T20:15:09.411" v="227" actId="478"/>
          <ac:grpSpMkLst>
            <pc:docMk/>
            <pc:sldMk cId="324668933" sldId="356"/>
            <ac:grpSpMk id="30" creationId="{65FFC82D-7D71-3EDD-8E55-D5949AEC0ED3}"/>
          </ac:grpSpMkLst>
        </pc:grpChg>
      </pc:sldChg>
    </pc:docChg>
  </pc:docChgLst>
  <pc:docChgLst>
    <pc:chgData name="HUANG LIN" userId="S::s301266@studenti.polito.it::1b5dcee7-0d99-405d-a0f0-637f14b99ad0" providerId="AD" clId="Web-{4C84965E-4DF3-44A2-ADD5-EA2B0C3C1784}"/>
    <pc:docChg chg="modSld">
      <pc:chgData name="HUANG LIN" userId="S::s301266@studenti.polito.it::1b5dcee7-0d99-405d-a0f0-637f14b99ad0" providerId="AD" clId="Web-{4C84965E-4DF3-44A2-ADD5-EA2B0C3C1784}" dt="2023-05-09T00:03:03.339" v="3"/>
      <pc:docMkLst>
        <pc:docMk/>
      </pc:docMkLst>
      <pc:sldChg chg="addSp delSp modSp">
        <pc:chgData name="HUANG LIN" userId="S::s301266@studenti.polito.it::1b5dcee7-0d99-405d-a0f0-637f14b99ad0" providerId="AD" clId="Web-{4C84965E-4DF3-44A2-ADD5-EA2B0C3C1784}" dt="2023-05-09T00:03:03.339" v="3"/>
        <pc:sldMkLst>
          <pc:docMk/>
          <pc:sldMk cId="402974724" sldId="349"/>
        </pc:sldMkLst>
        <pc:spChg chg="add del mod">
          <ac:chgData name="HUANG LIN" userId="S::s301266@studenti.polito.it::1b5dcee7-0d99-405d-a0f0-637f14b99ad0" providerId="AD" clId="Web-{4C84965E-4DF3-44A2-ADD5-EA2B0C3C1784}" dt="2023-05-09T00:03:03.339" v="3"/>
          <ac:spMkLst>
            <pc:docMk/>
            <pc:sldMk cId="402974724" sldId="349"/>
            <ac:spMk id="2" creationId="{5EEDAFAD-40F7-5456-EBBC-70323EB35728}"/>
          </ac:spMkLst>
        </pc:spChg>
      </pc:sldChg>
    </pc:docChg>
  </pc:docChgLst>
  <pc:docChgLst>
    <pc:chgData name="CHEN JINGSI" userId="S::s296135@studenti.polito.it::2c6a6994-749a-46da-a9cf-6c6b6bb4c573" providerId="AD" clId="Web-{454802DB-0A61-464E-B499-69C55D0F37A1}"/>
    <pc:docChg chg="modSld">
      <pc:chgData name="CHEN JINGSI" userId="S::s296135@studenti.polito.it::2c6a6994-749a-46da-a9cf-6c6b6bb4c573" providerId="AD" clId="Web-{454802DB-0A61-464E-B499-69C55D0F37A1}" dt="2023-05-16T22:50:46.333" v="9" actId="20577"/>
      <pc:docMkLst>
        <pc:docMk/>
      </pc:docMkLst>
      <pc:sldChg chg="modSp">
        <pc:chgData name="CHEN JINGSI" userId="S::s296135@studenti.polito.it::2c6a6994-749a-46da-a9cf-6c6b6bb4c573" providerId="AD" clId="Web-{454802DB-0A61-464E-B499-69C55D0F37A1}" dt="2023-05-16T22:50:46.333" v="9" actId="20577"/>
        <pc:sldMkLst>
          <pc:docMk/>
          <pc:sldMk cId="1887058106" sldId="354"/>
        </pc:sldMkLst>
        <pc:spChg chg="mod">
          <ac:chgData name="CHEN JINGSI" userId="S::s296135@studenti.polito.it::2c6a6994-749a-46da-a9cf-6c6b6bb4c573" providerId="AD" clId="Web-{454802DB-0A61-464E-B499-69C55D0F37A1}" dt="2023-05-16T22:50:46.333" v="9" actId="20577"/>
          <ac:spMkLst>
            <pc:docMk/>
            <pc:sldMk cId="1887058106" sldId="354"/>
            <ac:spMk id="9" creationId="{9CF67051-C77F-48AE-22B6-C29BCB4154F4}"/>
          </ac:spMkLst>
        </pc:spChg>
      </pc:sldChg>
    </pc:docChg>
  </pc:docChgLst>
  <pc:docChgLst>
    <pc:chgData name="HUANG LIN" userId="S::s301266@studenti.polito.it::1b5dcee7-0d99-405d-a0f0-637f14b99ad0" providerId="AD" clId="Web-{B9CAB386-E3C5-446C-BC33-9187DCD6AE5E}"/>
    <pc:docChg chg="modSld">
      <pc:chgData name="HUANG LIN" userId="S::s301266@studenti.polito.it::1b5dcee7-0d99-405d-a0f0-637f14b99ad0" providerId="AD" clId="Web-{B9CAB386-E3C5-446C-BC33-9187DCD6AE5E}" dt="2023-05-09T23:08:40.205" v="216" actId="20577"/>
      <pc:docMkLst>
        <pc:docMk/>
      </pc:docMkLst>
      <pc:sldChg chg="modSp">
        <pc:chgData name="HUANG LIN" userId="S::s301266@studenti.polito.it::1b5dcee7-0d99-405d-a0f0-637f14b99ad0" providerId="AD" clId="Web-{B9CAB386-E3C5-446C-BC33-9187DCD6AE5E}" dt="2023-05-09T23:08:00.376" v="214" actId="1076"/>
        <pc:sldMkLst>
          <pc:docMk/>
          <pc:sldMk cId="444038034" sldId="323"/>
        </pc:sldMkLst>
        <pc:spChg chg="mod">
          <ac:chgData name="HUANG LIN" userId="S::s301266@studenti.polito.it::1b5dcee7-0d99-405d-a0f0-637f14b99ad0" providerId="AD" clId="Web-{B9CAB386-E3C5-446C-BC33-9187DCD6AE5E}" dt="2023-05-09T23:08:00.376" v="214" actId="1076"/>
          <ac:spMkLst>
            <pc:docMk/>
            <pc:sldMk cId="444038034" sldId="323"/>
            <ac:spMk id="5" creationId="{B1453B25-3D98-76CC-52F2-A65940944E5C}"/>
          </ac:spMkLst>
        </pc:spChg>
        <pc:cxnChg chg="mod">
          <ac:chgData name="HUANG LIN" userId="S::s301266@studenti.polito.it::1b5dcee7-0d99-405d-a0f0-637f14b99ad0" providerId="AD" clId="Web-{B9CAB386-E3C5-446C-BC33-9187DCD6AE5E}" dt="2023-05-09T23:07:46.314" v="211" actId="1076"/>
          <ac:cxnSpMkLst>
            <pc:docMk/>
            <pc:sldMk cId="444038034" sldId="323"/>
            <ac:cxnSpMk id="8" creationId="{4BCFBBBC-DB9B-9C07-886F-22C72B5A7E86}"/>
          </ac:cxnSpMkLst>
        </pc:cxnChg>
        <pc:cxnChg chg="mod">
          <ac:chgData name="HUANG LIN" userId="S::s301266@studenti.polito.it::1b5dcee7-0d99-405d-a0f0-637f14b99ad0" providerId="AD" clId="Web-{B9CAB386-E3C5-446C-BC33-9187DCD6AE5E}" dt="2023-05-09T23:07:56.423" v="213" actId="1076"/>
          <ac:cxnSpMkLst>
            <pc:docMk/>
            <pc:sldMk cId="444038034" sldId="323"/>
            <ac:cxnSpMk id="9" creationId="{D323EE1D-7F6D-34BF-B989-E9591F02848C}"/>
          </ac:cxnSpMkLst>
        </pc:cxnChg>
      </pc:sldChg>
      <pc:sldChg chg="addSp delSp modSp mod setClrOvrMap">
        <pc:chgData name="HUANG LIN" userId="S::s301266@studenti.polito.it::1b5dcee7-0d99-405d-a0f0-637f14b99ad0" providerId="AD" clId="Web-{B9CAB386-E3C5-446C-BC33-9187DCD6AE5E}" dt="2023-05-09T22:52:33.899" v="47" actId="20577"/>
        <pc:sldMkLst>
          <pc:docMk/>
          <pc:sldMk cId="3465091535" sldId="347"/>
        </pc:sldMkLst>
        <pc:spChg chg="mod">
          <ac:chgData name="HUANG LIN" userId="S::s301266@studenti.polito.it::1b5dcee7-0d99-405d-a0f0-637f14b99ad0" providerId="AD" clId="Web-{B9CAB386-E3C5-446C-BC33-9187DCD6AE5E}" dt="2023-05-09T22:50:05.396" v="34"/>
          <ac:spMkLst>
            <pc:docMk/>
            <pc:sldMk cId="3465091535" sldId="347"/>
            <ac:spMk id="4" creationId="{0E732EBC-B0A9-3811-7940-27C4980C9B5D}"/>
          </ac:spMkLst>
        </pc:spChg>
        <pc:spChg chg="add del">
          <ac:chgData name="HUANG LIN" userId="S::s301266@studenti.polito.it::1b5dcee7-0d99-405d-a0f0-637f14b99ad0" providerId="AD" clId="Web-{B9CAB386-E3C5-446C-BC33-9187DCD6AE5E}" dt="2023-05-09T22:50:05.396" v="34"/>
          <ac:spMkLst>
            <pc:docMk/>
            <pc:sldMk cId="3465091535" sldId="347"/>
            <ac:spMk id="152" creationId="{BACC6370-2D7E-4714-9D71-7542949D7D5D}"/>
          </ac:spMkLst>
        </pc:spChg>
        <pc:spChg chg="add del">
          <ac:chgData name="HUANG LIN" userId="S::s301266@studenti.polito.it::1b5dcee7-0d99-405d-a0f0-637f14b99ad0" providerId="AD" clId="Web-{B9CAB386-E3C5-446C-BC33-9187DCD6AE5E}" dt="2023-05-09T22:50:05.396" v="34"/>
          <ac:spMkLst>
            <pc:docMk/>
            <pc:sldMk cId="3465091535" sldId="347"/>
            <ac:spMk id="154" creationId="{F68B3F68-107C-434F-AA38-110D5EA91B85}"/>
          </ac:spMkLst>
        </pc:spChg>
        <pc:spChg chg="add del">
          <ac:chgData name="HUANG LIN" userId="S::s301266@studenti.polito.it::1b5dcee7-0d99-405d-a0f0-637f14b99ad0" providerId="AD" clId="Web-{B9CAB386-E3C5-446C-BC33-9187DCD6AE5E}" dt="2023-05-09T22:50:05.396" v="34"/>
          <ac:spMkLst>
            <pc:docMk/>
            <pc:sldMk cId="3465091535" sldId="347"/>
            <ac:spMk id="156" creationId="{AAD0DBB9-1A4B-4391-81D4-CB19F9AB918A}"/>
          </ac:spMkLst>
        </pc:spChg>
        <pc:spChg chg="add del">
          <ac:chgData name="HUANG LIN" userId="S::s301266@studenti.polito.it::1b5dcee7-0d99-405d-a0f0-637f14b99ad0" providerId="AD" clId="Web-{B9CAB386-E3C5-446C-BC33-9187DCD6AE5E}" dt="2023-05-09T22:50:05.396" v="34"/>
          <ac:spMkLst>
            <pc:docMk/>
            <pc:sldMk cId="3465091535" sldId="347"/>
            <ac:spMk id="158" creationId="{063BBA22-50EA-4C4D-BE05-F1CE4E63AA56}"/>
          </ac:spMkLst>
        </pc:spChg>
        <pc:spChg chg="add del">
          <ac:chgData name="HUANG LIN" userId="S::s301266@studenti.polito.it::1b5dcee7-0d99-405d-a0f0-637f14b99ad0" providerId="AD" clId="Web-{B9CAB386-E3C5-446C-BC33-9187DCD6AE5E}" dt="2023-05-09T22:50:05.396" v="34"/>
          <ac:spMkLst>
            <pc:docMk/>
            <pc:sldMk cId="3465091535" sldId="347"/>
            <ac:spMk id="163" creationId="{9228552E-C8B1-4A80-8448-0787CE0FC704}"/>
          </ac:spMkLst>
        </pc:spChg>
        <pc:graphicFrameChg chg="add del mod modGraphic">
          <ac:chgData name="HUANG LIN" userId="S::s301266@studenti.polito.it::1b5dcee7-0d99-405d-a0f0-637f14b99ad0" providerId="AD" clId="Web-{B9CAB386-E3C5-446C-BC33-9187DCD6AE5E}" dt="2023-05-09T22:52:33.899" v="47" actId="20577"/>
          <ac:graphicFrameMkLst>
            <pc:docMk/>
            <pc:sldMk cId="3465091535" sldId="347"/>
            <ac:graphicFrameMk id="147" creationId="{4659E555-6CF5-A8E6-9E1A-D52A640D9FFF}"/>
          </ac:graphicFrameMkLst>
        </pc:graphicFrameChg>
      </pc:sldChg>
      <pc:sldChg chg="addSp delSp modSp">
        <pc:chgData name="HUANG LIN" userId="S::s301266@studenti.polito.it::1b5dcee7-0d99-405d-a0f0-637f14b99ad0" providerId="AD" clId="Web-{B9CAB386-E3C5-446C-BC33-9187DCD6AE5E}" dt="2023-05-09T22:57:34.922" v="82"/>
        <pc:sldMkLst>
          <pc:docMk/>
          <pc:sldMk cId="598547174" sldId="348"/>
        </pc:sldMkLst>
        <pc:spChg chg="add del">
          <ac:chgData name="HUANG LIN" userId="S::s301266@studenti.polito.it::1b5dcee7-0d99-405d-a0f0-637f14b99ad0" providerId="AD" clId="Web-{B9CAB386-E3C5-446C-BC33-9187DCD6AE5E}" dt="2023-05-09T22:53:23.493" v="50"/>
          <ac:spMkLst>
            <pc:docMk/>
            <pc:sldMk cId="598547174" sldId="348"/>
            <ac:spMk id="2" creationId="{AAAB8344-1F30-F9C0-3D5F-3CFBE922FF57}"/>
          </ac:spMkLst>
        </pc:spChg>
        <pc:spChg chg="add del">
          <ac:chgData name="HUANG LIN" userId="S::s301266@studenti.polito.it::1b5dcee7-0d99-405d-a0f0-637f14b99ad0" providerId="AD" clId="Web-{B9CAB386-E3C5-446C-BC33-9187DCD6AE5E}" dt="2023-05-09T22:54:14.122" v="55"/>
          <ac:spMkLst>
            <pc:docMk/>
            <pc:sldMk cId="598547174" sldId="348"/>
            <ac:spMk id="5" creationId="{016960BB-AE9C-C7E1-9472-89DB23EC6D03}"/>
          </ac:spMkLst>
        </pc:spChg>
        <pc:spChg chg="add del">
          <ac:chgData name="HUANG LIN" userId="S::s301266@studenti.polito.it::1b5dcee7-0d99-405d-a0f0-637f14b99ad0" providerId="AD" clId="Web-{B9CAB386-E3C5-446C-BC33-9187DCD6AE5E}" dt="2023-05-09T22:54:40.060" v="59"/>
          <ac:spMkLst>
            <pc:docMk/>
            <pc:sldMk cId="598547174" sldId="348"/>
            <ac:spMk id="7" creationId="{56A54F87-B600-8057-1D25-7863834C9D8A}"/>
          </ac:spMkLst>
        </pc:spChg>
        <pc:spChg chg="add del">
          <ac:chgData name="HUANG LIN" userId="S::s301266@studenti.polito.it::1b5dcee7-0d99-405d-a0f0-637f14b99ad0" providerId="AD" clId="Web-{B9CAB386-E3C5-446C-BC33-9187DCD6AE5E}" dt="2023-05-09T22:54:34.872" v="58"/>
          <ac:spMkLst>
            <pc:docMk/>
            <pc:sldMk cId="598547174" sldId="348"/>
            <ac:spMk id="8" creationId="{64B971A3-1AE5-9606-BDE5-EDBA22887F1F}"/>
          </ac:spMkLst>
        </pc:spChg>
        <pc:spChg chg="add mod">
          <ac:chgData name="HUANG LIN" userId="S::s301266@studenti.polito.it::1b5dcee7-0d99-405d-a0f0-637f14b99ad0" providerId="AD" clId="Web-{B9CAB386-E3C5-446C-BC33-9187DCD6AE5E}" dt="2023-05-09T22:57:34.922" v="82"/>
          <ac:spMkLst>
            <pc:docMk/>
            <pc:sldMk cId="598547174" sldId="348"/>
            <ac:spMk id="11" creationId="{B5AAF9ED-E65B-4830-7AA9-0ABF9EA4BBCB}"/>
          </ac:spMkLst>
        </pc:spChg>
        <pc:picChg chg="mod">
          <ac:chgData name="HUANG LIN" userId="S::s301266@studenti.polito.it::1b5dcee7-0d99-405d-a0f0-637f14b99ad0" providerId="AD" clId="Web-{B9CAB386-E3C5-446C-BC33-9187DCD6AE5E}" dt="2023-05-09T22:54:01.106" v="53" actId="1076"/>
          <ac:picMkLst>
            <pc:docMk/>
            <pc:sldMk cId="598547174" sldId="348"/>
            <ac:picMk id="6" creationId="{E19D80CB-3FC8-7BDC-221B-BFCA33059E5C}"/>
          </ac:picMkLst>
        </pc:picChg>
        <pc:inkChg chg="add del">
          <ac:chgData name="HUANG LIN" userId="S::s301266@studenti.polito.it::1b5dcee7-0d99-405d-a0f0-637f14b99ad0" providerId="AD" clId="Web-{B9CAB386-E3C5-446C-BC33-9187DCD6AE5E}" dt="2023-05-09T22:53:53.230" v="52"/>
          <ac:inkMkLst>
            <pc:docMk/>
            <pc:sldMk cId="598547174" sldId="348"/>
            <ac:inkMk id="3" creationId="{91620F07-998A-5375-706E-CB6477C9229B}"/>
          </ac:inkMkLst>
        </pc:inkChg>
        <pc:inkChg chg="add del">
          <ac:chgData name="HUANG LIN" userId="S::s301266@studenti.polito.it::1b5dcee7-0d99-405d-a0f0-637f14b99ad0" providerId="AD" clId="Web-{B9CAB386-E3C5-446C-BC33-9187DCD6AE5E}" dt="2023-05-09T22:55:19.654" v="61"/>
          <ac:inkMkLst>
            <pc:docMk/>
            <pc:sldMk cId="598547174" sldId="348"/>
            <ac:inkMk id="9" creationId="{374674DE-8543-9CF9-6A3A-62A88CC02E24}"/>
          </ac:inkMkLst>
        </pc:inkChg>
        <pc:inkChg chg="add del">
          <ac:chgData name="HUANG LIN" userId="S::s301266@studenti.polito.it::1b5dcee7-0d99-405d-a0f0-637f14b99ad0" providerId="AD" clId="Web-{B9CAB386-E3C5-446C-BC33-9187DCD6AE5E}" dt="2023-05-09T22:55:37.186" v="63"/>
          <ac:inkMkLst>
            <pc:docMk/>
            <pc:sldMk cId="598547174" sldId="348"/>
            <ac:inkMk id="10" creationId="{8B193067-1B41-2EC8-151F-7E28D5BF6D63}"/>
          </ac:inkMkLst>
        </pc:inkChg>
        <pc:inkChg chg="add del">
          <ac:chgData name="HUANG LIN" userId="S::s301266@studenti.polito.it::1b5dcee7-0d99-405d-a0f0-637f14b99ad0" providerId="AD" clId="Web-{B9CAB386-E3C5-446C-BC33-9187DCD6AE5E}" dt="2023-05-09T22:56:09.624" v="70"/>
          <ac:inkMkLst>
            <pc:docMk/>
            <pc:sldMk cId="598547174" sldId="348"/>
            <ac:inkMk id="12" creationId="{A4C28682-EA48-2DDE-26D0-E7AB4ECE1908}"/>
          </ac:inkMkLst>
        </pc:inkChg>
        <pc:inkChg chg="add del">
          <ac:chgData name="HUANG LIN" userId="S::s301266@studenti.polito.it::1b5dcee7-0d99-405d-a0f0-637f14b99ad0" providerId="AD" clId="Web-{B9CAB386-E3C5-446C-BC33-9187DCD6AE5E}" dt="2023-05-09T22:56:06.639" v="69"/>
          <ac:inkMkLst>
            <pc:docMk/>
            <pc:sldMk cId="598547174" sldId="348"/>
            <ac:inkMk id="13" creationId="{E925ED4F-4F96-85B7-7A15-24A661185190}"/>
          </ac:inkMkLst>
        </pc:inkChg>
        <pc:inkChg chg="add del">
          <ac:chgData name="HUANG LIN" userId="S::s301266@studenti.polito.it::1b5dcee7-0d99-405d-a0f0-637f14b99ad0" providerId="AD" clId="Web-{B9CAB386-E3C5-446C-BC33-9187DCD6AE5E}" dt="2023-05-09T22:56:14.780" v="72"/>
          <ac:inkMkLst>
            <pc:docMk/>
            <pc:sldMk cId="598547174" sldId="348"/>
            <ac:inkMk id="14" creationId="{7A9A1987-0FFD-8AE7-8DE8-6B4C22FAB8A5}"/>
          </ac:inkMkLst>
        </pc:inkChg>
        <pc:inkChg chg="add del">
          <ac:chgData name="HUANG LIN" userId="S::s301266@studenti.polito.it::1b5dcee7-0d99-405d-a0f0-637f14b99ad0" providerId="AD" clId="Web-{B9CAB386-E3C5-446C-BC33-9187DCD6AE5E}" dt="2023-05-09T22:56:26.890" v="74"/>
          <ac:inkMkLst>
            <pc:docMk/>
            <pc:sldMk cId="598547174" sldId="348"/>
            <ac:inkMk id="15" creationId="{3BB14F71-8F64-1DC9-F13B-5DA08C743C33}"/>
          </ac:inkMkLst>
        </pc:inkChg>
      </pc:sldChg>
      <pc:sldChg chg="addSp delSp modSp">
        <pc:chgData name="HUANG LIN" userId="S::s301266@studenti.polito.it::1b5dcee7-0d99-405d-a0f0-637f14b99ad0" providerId="AD" clId="Web-{B9CAB386-E3C5-446C-BC33-9187DCD6AE5E}" dt="2023-05-09T23:08:35.658" v="215" actId="20577"/>
        <pc:sldMkLst>
          <pc:docMk/>
          <pc:sldMk cId="402974724" sldId="349"/>
        </pc:sldMkLst>
        <pc:spChg chg="add mod">
          <ac:chgData name="HUANG LIN" userId="S::s301266@studenti.polito.it::1b5dcee7-0d99-405d-a0f0-637f14b99ad0" providerId="AD" clId="Web-{B9CAB386-E3C5-446C-BC33-9187DCD6AE5E}" dt="2023-05-09T23:07:02.453" v="210" actId="1076"/>
          <ac:spMkLst>
            <pc:docMk/>
            <pc:sldMk cId="402974724" sldId="349"/>
            <ac:spMk id="4" creationId="{DCEB6B8F-2A6A-6AAD-CADD-ABCE308E0DC0}"/>
          </ac:spMkLst>
        </pc:spChg>
        <pc:spChg chg="add del">
          <ac:chgData name="HUANG LIN" userId="S::s301266@studenti.polito.it::1b5dcee7-0d99-405d-a0f0-637f14b99ad0" providerId="AD" clId="Web-{B9CAB386-E3C5-446C-BC33-9187DCD6AE5E}" dt="2023-05-09T23:01:50.786" v="101"/>
          <ac:spMkLst>
            <pc:docMk/>
            <pc:sldMk cId="402974724" sldId="349"/>
            <ac:spMk id="6" creationId="{AF112C30-48EC-F4FA-EB64-97654E164959}"/>
          </ac:spMkLst>
        </pc:spChg>
        <pc:spChg chg="add del mod">
          <ac:chgData name="HUANG LIN" userId="S::s301266@studenti.polito.it::1b5dcee7-0d99-405d-a0f0-637f14b99ad0" providerId="AD" clId="Web-{B9CAB386-E3C5-446C-BC33-9187DCD6AE5E}" dt="2023-05-09T23:08:35.658" v="215" actId="20577"/>
          <ac:spMkLst>
            <pc:docMk/>
            <pc:sldMk cId="402974724" sldId="349"/>
            <ac:spMk id="7" creationId="{CC48D0D3-1DDD-23C3-263E-88FF6EF8A8FC}"/>
          </ac:spMkLst>
        </pc:spChg>
        <pc:picChg chg="add mod">
          <ac:chgData name="HUANG LIN" userId="S::s301266@studenti.polito.it::1b5dcee7-0d99-405d-a0f0-637f14b99ad0" providerId="AD" clId="Web-{B9CAB386-E3C5-446C-BC33-9187DCD6AE5E}" dt="2023-05-09T23:06:59.766" v="209" actId="1076"/>
          <ac:picMkLst>
            <pc:docMk/>
            <pc:sldMk cId="402974724" sldId="349"/>
            <ac:picMk id="2" creationId="{0D5E5A7C-1906-7D62-7BDD-E2BE6F818104}"/>
          </ac:picMkLst>
        </pc:picChg>
        <pc:picChg chg="del">
          <ac:chgData name="HUANG LIN" userId="S::s301266@studenti.polito.it::1b5dcee7-0d99-405d-a0f0-637f14b99ad0" providerId="AD" clId="Web-{B9CAB386-E3C5-446C-BC33-9187DCD6AE5E}" dt="2023-05-09T22:46:00.735" v="1"/>
          <ac:picMkLst>
            <pc:docMk/>
            <pc:sldMk cId="402974724" sldId="349"/>
            <ac:picMk id="28" creationId="{2F48CE8C-38CF-6626-B165-41CF3F28DD8A}"/>
          </ac:picMkLst>
        </pc:picChg>
        <pc:picChg chg="del">
          <ac:chgData name="HUANG LIN" userId="S::s301266@studenti.polito.it::1b5dcee7-0d99-405d-a0f0-637f14b99ad0" providerId="AD" clId="Web-{B9CAB386-E3C5-446C-BC33-9187DCD6AE5E}" dt="2023-05-09T22:45:58.782" v="0"/>
          <ac:picMkLst>
            <pc:docMk/>
            <pc:sldMk cId="402974724" sldId="349"/>
            <ac:picMk id="30" creationId="{D4B1A077-88AC-170D-F385-0F60A9E7A356}"/>
          </ac:picMkLst>
        </pc:picChg>
      </pc:sldChg>
      <pc:sldChg chg="addSp delSp modSp">
        <pc:chgData name="HUANG LIN" userId="S::s301266@studenti.polito.it::1b5dcee7-0d99-405d-a0f0-637f14b99ad0" providerId="AD" clId="Web-{B9CAB386-E3C5-446C-BC33-9187DCD6AE5E}" dt="2023-05-09T23:08:40.205" v="216" actId="20577"/>
        <pc:sldMkLst>
          <pc:docMk/>
          <pc:sldMk cId="2995164932" sldId="350"/>
        </pc:sldMkLst>
        <pc:spChg chg="add mod">
          <ac:chgData name="HUANG LIN" userId="S::s301266@studenti.polito.it::1b5dcee7-0d99-405d-a0f0-637f14b99ad0" providerId="AD" clId="Web-{B9CAB386-E3C5-446C-BC33-9187DCD6AE5E}" dt="2023-05-09T23:06:38.575" v="207" actId="1076"/>
          <ac:spMkLst>
            <pc:docMk/>
            <pc:sldMk cId="2995164932" sldId="350"/>
            <ac:spMk id="6" creationId="{8C85ECFB-E8FE-61E3-0D17-5F6C3C6E348A}"/>
          </ac:spMkLst>
        </pc:spChg>
        <pc:spChg chg="add mod">
          <ac:chgData name="HUANG LIN" userId="S::s301266@studenti.polito.it::1b5dcee7-0d99-405d-a0f0-637f14b99ad0" providerId="AD" clId="Web-{B9CAB386-E3C5-446C-BC33-9187DCD6AE5E}" dt="2023-05-09T23:08:40.205" v="216" actId="20577"/>
          <ac:spMkLst>
            <pc:docMk/>
            <pc:sldMk cId="2995164932" sldId="350"/>
            <ac:spMk id="7" creationId="{77B84CF8-B5DE-C1D2-41B1-1D6055340C6C}"/>
          </ac:spMkLst>
        </pc:spChg>
        <pc:picChg chg="add mod modCrop">
          <ac:chgData name="HUANG LIN" userId="S::s301266@studenti.polito.it::1b5dcee7-0d99-405d-a0f0-637f14b99ad0" providerId="AD" clId="Web-{B9CAB386-E3C5-446C-BC33-9187DCD6AE5E}" dt="2023-05-09T23:06:26.606" v="204" actId="1076"/>
          <ac:picMkLst>
            <pc:docMk/>
            <pc:sldMk cId="2995164932" sldId="350"/>
            <ac:picMk id="2" creationId="{CA9D0704-9E0B-900D-4DB2-5CDEEBFEAD54}"/>
          </ac:picMkLst>
        </pc:picChg>
        <pc:picChg chg="del">
          <ac:chgData name="HUANG LIN" userId="S::s301266@studenti.polito.it::1b5dcee7-0d99-405d-a0f0-637f14b99ad0" providerId="AD" clId="Web-{B9CAB386-E3C5-446C-BC33-9187DCD6AE5E}" dt="2023-05-09T22:46:02.860" v="2"/>
          <ac:picMkLst>
            <pc:docMk/>
            <pc:sldMk cId="2995164932" sldId="350"/>
            <ac:picMk id="3" creationId="{C9755640-43F7-FB3F-2DC1-728B21173E7B}"/>
          </ac:picMkLst>
        </pc:picChg>
        <pc:picChg chg="del">
          <ac:chgData name="HUANG LIN" userId="S::s301266@studenti.polito.it::1b5dcee7-0d99-405d-a0f0-637f14b99ad0" providerId="AD" clId="Web-{B9CAB386-E3C5-446C-BC33-9187DCD6AE5E}" dt="2023-05-09T22:46:04.938" v="3"/>
          <ac:picMkLst>
            <pc:docMk/>
            <pc:sldMk cId="2995164932" sldId="350"/>
            <ac:picMk id="8" creationId="{794FD554-B3F5-E355-298D-FF09AE4CE577}"/>
          </ac:picMkLst>
        </pc:picChg>
      </pc:sldChg>
    </pc:docChg>
  </pc:docChgLst>
  <pc:docChgLst>
    <pc:chgData name="YIN JUN" userId="S::s296134@studenti.polito.it::40f53ba7-6859-4e15-b6a0-4f636ac10741" providerId="AD" clId="Web-{876EA0BE-180B-47AB-8A47-39CFFA58148D}"/>
    <pc:docChg chg="modSld">
      <pc:chgData name="YIN JUN" userId="S::s296134@studenti.polito.it::40f53ba7-6859-4e15-b6a0-4f636ac10741" providerId="AD" clId="Web-{876EA0BE-180B-47AB-8A47-39CFFA58148D}" dt="2023-05-16T17:50:18.311" v="15" actId="1076"/>
      <pc:docMkLst>
        <pc:docMk/>
      </pc:docMkLst>
      <pc:sldChg chg="addSp delSp modSp">
        <pc:chgData name="YIN JUN" userId="S::s296134@studenti.polito.it::40f53ba7-6859-4e15-b6a0-4f636ac10741" providerId="AD" clId="Web-{876EA0BE-180B-47AB-8A47-39CFFA58148D}" dt="2023-05-16T17:50:18.311" v="15" actId="1076"/>
        <pc:sldMkLst>
          <pc:docMk/>
          <pc:sldMk cId="1904998559" sldId="357"/>
        </pc:sldMkLst>
        <pc:picChg chg="add mod">
          <ac:chgData name="YIN JUN" userId="S::s296134@studenti.polito.it::40f53ba7-6859-4e15-b6a0-4f636ac10741" providerId="AD" clId="Web-{876EA0BE-180B-47AB-8A47-39CFFA58148D}" dt="2023-05-16T17:50:16.186" v="14" actId="1076"/>
          <ac:picMkLst>
            <pc:docMk/>
            <pc:sldMk cId="1904998559" sldId="357"/>
            <ac:picMk id="6" creationId="{A0E00ADA-565B-1D28-0FAD-19299323A3CB}"/>
          </ac:picMkLst>
        </pc:picChg>
        <pc:picChg chg="add mod">
          <ac:chgData name="YIN JUN" userId="S::s296134@studenti.polito.it::40f53ba7-6859-4e15-b6a0-4f636ac10741" providerId="AD" clId="Web-{876EA0BE-180B-47AB-8A47-39CFFA58148D}" dt="2023-05-16T17:50:18.311" v="15" actId="1076"/>
          <ac:picMkLst>
            <pc:docMk/>
            <pc:sldMk cId="1904998559" sldId="357"/>
            <ac:picMk id="7" creationId="{E4C36C59-DFF4-DCBB-86E3-15551ED736EC}"/>
          </ac:picMkLst>
        </pc:picChg>
        <pc:picChg chg="del">
          <ac:chgData name="YIN JUN" userId="S::s296134@studenti.polito.it::40f53ba7-6859-4e15-b6a0-4f636ac10741" providerId="AD" clId="Web-{876EA0BE-180B-47AB-8A47-39CFFA58148D}" dt="2023-05-16T17:49:41.826" v="2"/>
          <ac:picMkLst>
            <pc:docMk/>
            <pc:sldMk cId="1904998559" sldId="357"/>
            <ac:picMk id="8" creationId="{B628FD73-96D4-5726-7474-514A9A7E53DC}"/>
          </ac:picMkLst>
        </pc:picChg>
        <pc:picChg chg="del">
          <ac:chgData name="YIN JUN" userId="S::s296134@studenti.polito.it::40f53ba7-6859-4e15-b6a0-4f636ac10741" providerId="AD" clId="Web-{876EA0BE-180B-47AB-8A47-39CFFA58148D}" dt="2023-05-16T17:50:00.452" v="7"/>
          <ac:picMkLst>
            <pc:docMk/>
            <pc:sldMk cId="1904998559" sldId="357"/>
            <ac:picMk id="20" creationId="{48CBD229-16E4-FDFF-706B-5E66703AE618}"/>
          </ac:picMkLst>
        </pc:picChg>
      </pc:sldChg>
    </pc:docChg>
  </pc:docChgLst>
  <pc:docChgLst>
    <pc:chgData name="Li  Yangshihao" userId="S::s302568@studenti.polito.it::ee48da2e-17a2-4953-b1e7-564eeca1e514" providerId="AD" clId="Web-{75FACF3B-181B-46F0-AB2F-7D4CDD15548B}"/>
    <pc:docChg chg="modSld">
      <pc:chgData name="Li  Yangshihao" userId="S::s302568@studenti.polito.it::ee48da2e-17a2-4953-b1e7-564eeca1e514" providerId="AD" clId="Web-{75FACF3B-181B-46F0-AB2F-7D4CDD15548B}" dt="2023-05-17T06:20:53.870" v="6" actId="1076"/>
      <pc:docMkLst>
        <pc:docMk/>
      </pc:docMkLst>
      <pc:sldChg chg="addSp delSp modSp">
        <pc:chgData name="Li  Yangshihao" userId="S::s302568@studenti.polito.it::ee48da2e-17a2-4953-b1e7-564eeca1e514" providerId="AD" clId="Web-{75FACF3B-181B-46F0-AB2F-7D4CDD15548B}" dt="2023-05-17T06:20:53.870" v="6" actId="1076"/>
        <pc:sldMkLst>
          <pc:docMk/>
          <pc:sldMk cId="126589775" sldId="345"/>
        </pc:sldMkLst>
        <pc:picChg chg="del">
          <ac:chgData name="Li  Yangshihao" userId="S::s302568@studenti.polito.it::ee48da2e-17a2-4953-b1e7-564eeca1e514" providerId="AD" clId="Web-{75FACF3B-181B-46F0-AB2F-7D4CDD15548B}" dt="2023-05-17T06:20:18.400" v="0"/>
          <ac:picMkLst>
            <pc:docMk/>
            <pc:sldMk cId="126589775" sldId="345"/>
            <ac:picMk id="3" creationId="{8FFAA7A7-E11F-C850-FEC0-1BAD51904BB2}"/>
          </ac:picMkLst>
        </pc:picChg>
        <pc:picChg chg="add mod">
          <ac:chgData name="Li  Yangshihao" userId="S::s302568@studenti.polito.it::ee48da2e-17a2-4953-b1e7-564eeca1e514" providerId="AD" clId="Web-{75FACF3B-181B-46F0-AB2F-7D4CDD15548B}" dt="2023-05-17T06:20:53.870" v="6" actId="1076"/>
          <ac:picMkLst>
            <pc:docMk/>
            <pc:sldMk cId="126589775" sldId="345"/>
            <ac:picMk id="10" creationId="{981F2B23-4214-F229-63DA-59143174F840}"/>
          </ac:picMkLst>
        </pc:picChg>
      </pc:sldChg>
    </pc:docChg>
  </pc:docChgLst>
  <pc:docChgLst>
    <pc:chgData name="HUANG LIN" userId="S::s301266@studenti.polito.it::1b5dcee7-0d99-405d-a0f0-637f14b99ad0" providerId="AD" clId="Web-{E37CB496-11AD-4885-84B0-E80E92DC8680}"/>
    <pc:docChg chg="modSld sldOrd">
      <pc:chgData name="HUANG LIN" userId="S::s301266@studenti.polito.it::1b5dcee7-0d99-405d-a0f0-637f14b99ad0" providerId="AD" clId="Web-{E37CB496-11AD-4885-84B0-E80E92DC8680}" dt="2023-05-16T21:44:06.957" v="145"/>
      <pc:docMkLst>
        <pc:docMk/>
      </pc:docMkLst>
      <pc:sldChg chg="modSp">
        <pc:chgData name="HUANG LIN" userId="S::s301266@studenti.polito.it::1b5dcee7-0d99-405d-a0f0-637f14b99ad0" providerId="AD" clId="Web-{E37CB496-11AD-4885-84B0-E80E92DC8680}" dt="2023-05-16T19:42:56.869" v="5"/>
        <pc:sldMkLst>
          <pc:docMk/>
          <pc:sldMk cId="3465091535" sldId="347"/>
        </pc:sldMkLst>
        <pc:graphicFrameChg chg="modGraphic">
          <ac:chgData name="HUANG LIN" userId="S::s301266@studenti.polito.it::1b5dcee7-0d99-405d-a0f0-637f14b99ad0" providerId="AD" clId="Web-{E37CB496-11AD-4885-84B0-E80E92DC8680}" dt="2023-05-16T19:42:56.869" v="5"/>
          <ac:graphicFrameMkLst>
            <pc:docMk/>
            <pc:sldMk cId="3465091535" sldId="347"/>
            <ac:graphicFrameMk id="147" creationId="{4659E555-6CF5-A8E6-9E1A-D52A640D9FFF}"/>
          </ac:graphicFrameMkLst>
        </pc:graphicFrameChg>
      </pc:sldChg>
      <pc:sldChg chg="addSp delSp modSp">
        <pc:chgData name="HUANG LIN" userId="S::s301266@studenti.polito.it::1b5dcee7-0d99-405d-a0f0-637f14b99ad0" providerId="AD" clId="Web-{E37CB496-11AD-4885-84B0-E80E92DC8680}" dt="2023-05-16T21:39:09.072" v="89" actId="1076"/>
        <pc:sldMkLst>
          <pc:docMk/>
          <pc:sldMk cId="598547174" sldId="348"/>
        </pc:sldMkLst>
        <pc:spChg chg="mod ord">
          <ac:chgData name="HUANG LIN" userId="S::s301266@studenti.polito.it::1b5dcee7-0d99-405d-a0f0-637f14b99ad0" providerId="AD" clId="Web-{E37CB496-11AD-4885-84B0-E80E92DC8680}" dt="2023-05-16T21:39:09.072" v="89" actId="1076"/>
          <ac:spMkLst>
            <pc:docMk/>
            <pc:sldMk cId="598547174" sldId="348"/>
            <ac:spMk id="11" creationId="{B5AAF9ED-E65B-4830-7AA9-0ABF9EA4BBCB}"/>
          </ac:spMkLst>
        </pc:spChg>
        <pc:picChg chg="add mod">
          <ac:chgData name="HUANG LIN" userId="S::s301266@studenti.polito.it::1b5dcee7-0d99-405d-a0f0-637f14b99ad0" providerId="AD" clId="Web-{E37CB496-11AD-4885-84B0-E80E92DC8680}" dt="2023-05-16T21:39:00.369" v="86" actId="14100"/>
          <ac:picMkLst>
            <pc:docMk/>
            <pc:sldMk cId="598547174" sldId="348"/>
            <ac:picMk id="3" creationId="{79D8C9A7-868E-B6E2-27CC-6C8FC9682208}"/>
          </ac:picMkLst>
        </pc:picChg>
        <pc:picChg chg="del">
          <ac:chgData name="HUANG LIN" userId="S::s301266@studenti.polito.it::1b5dcee7-0d99-405d-a0f0-637f14b99ad0" providerId="AD" clId="Web-{E37CB496-11AD-4885-84B0-E80E92DC8680}" dt="2023-05-16T21:38:15.289" v="67"/>
          <ac:picMkLst>
            <pc:docMk/>
            <pc:sldMk cId="598547174" sldId="348"/>
            <ac:picMk id="4" creationId="{A67BF5C1-A251-2DB2-EC17-A9DD9914A297}"/>
          </ac:picMkLst>
        </pc:picChg>
        <pc:picChg chg="add mod">
          <ac:chgData name="HUANG LIN" userId="S::s301266@studenti.polito.it::1b5dcee7-0d99-405d-a0f0-637f14b99ad0" providerId="AD" clId="Web-{E37CB496-11AD-4885-84B0-E80E92DC8680}" dt="2023-05-16T21:38:51.775" v="84" actId="1076"/>
          <ac:picMkLst>
            <pc:docMk/>
            <pc:sldMk cId="598547174" sldId="348"/>
            <ac:picMk id="5" creationId="{E57ABC0B-C511-800E-FC37-54E3A533DE49}"/>
          </ac:picMkLst>
        </pc:picChg>
        <pc:picChg chg="del">
          <ac:chgData name="HUANG LIN" userId="S::s301266@studenti.polito.it::1b5dcee7-0d99-405d-a0f0-637f14b99ad0" providerId="AD" clId="Web-{E37CB496-11AD-4885-84B0-E80E92DC8680}" dt="2023-05-16T21:38:16.524" v="68"/>
          <ac:picMkLst>
            <pc:docMk/>
            <pc:sldMk cId="598547174" sldId="348"/>
            <ac:picMk id="6" creationId="{E19D80CB-3FC8-7BDC-221B-BFCA33059E5C}"/>
          </ac:picMkLst>
        </pc:picChg>
      </pc:sldChg>
      <pc:sldChg chg="addSp delSp modSp">
        <pc:chgData name="HUANG LIN" userId="S::s301266@studenti.polito.it::1b5dcee7-0d99-405d-a0f0-637f14b99ad0" providerId="AD" clId="Web-{E37CB496-11AD-4885-84B0-E80E92DC8680}" dt="2023-05-16T21:44:06.957" v="145"/>
        <pc:sldMkLst>
          <pc:docMk/>
          <pc:sldMk cId="402974724" sldId="349"/>
        </pc:sldMkLst>
        <pc:spChg chg="mod ord">
          <ac:chgData name="HUANG LIN" userId="S::s301266@studenti.polito.it::1b5dcee7-0d99-405d-a0f0-637f14b99ad0" providerId="AD" clId="Web-{E37CB496-11AD-4885-84B0-E80E92DC8680}" dt="2023-05-16T21:42:51.470" v="130" actId="1076"/>
          <ac:spMkLst>
            <pc:docMk/>
            <pc:sldMk cId="402974724" sldId="349"/>
            <ac:spMk id="4" creationId="{DCEB6B8F-2A6A-6AAD-CADD-ABCE308E0DC0}"/>
          </ac:spMkLst>
        </pc:spChg>
        <pc:spChg chg="add mod">
          <ac:chgData name="HUANG LIN" userId="S::s301266@studenti.polito.it::1b5dcee7-0d99-405d-a0f0-637f14b99ad0" providerId="AD" clId="Web-{E37CB496-11AD-4885-84B0-E80E92DC8680}" dt="2023-05-16T21:44:06.957" v="145"/>
          <ac:spMkLst>
            <pc:docMk/>
            <pc:sldMk cId="402974724" sldId="349"/>
            <ac:spMk id="11" creationId="{15FA3ABB-BF5A-47FB-B8C2-3B67B6917540}"/>
          </ac:spMkLst>
        </pc:spChg>
        <pc:picChg chg="del">
          <ac:chgData name="HUANG LIN" userId="S::s301266@studenti.polito.it::1b5dcee7-0d99-405d-a0f0-637f14b99ad0" providerId="AD" clId="Web-{E37CB496-11AD-4885-84B0-E80E92DC8680}" dt="2023-05-16T20:31:32.866" v="17"/>
          <ac:picMkLst>
            <pc:docMk/>
            <pc:sldMk cId="402974724" sldId="349"/>
            <ac:picMk id="2" creationId="{0D5E5A7C-1906-7D62-7BDD-E2BE6F818104}"/>
          </ac:picMkLst>
        </pc:picChg>
        <pc:picChg chg="add del mod">
          <ac:chgData name="HUANG LIN" userId="S::s301266@studenti.polito.it::1b5dcee7-0d99-405d-a0f0-637f14b99ad0" providerId="AD" clId="Web-{E37CB496-11AD-4885-84B0-E80E92DC8680}" dt="2023-05-16T21:40:11.402" v="99"/>
          <ac:picMkLst>
            <pc:docMk/>
            <pc:sldMk cId="402974724" sldId="349"/>
            <ac:picMk id="3" creationId="{688C27C7-B16D-ABCF-D88A-E4C394B78242}"/>
          </ac:picMkLst>
        </pc:picChg>
        <pc:picChg chg="add mod ord">
          <ac:chgData name="HUANG LIN" userId="S::s301266@studenti.polito.it::1b5dcee7-0d99-405d-a0f0-637f14b99ad0" providerId="AD" clId="Web-{E37CB496-11AD-4885-84B0-E80E92DC8680}" dt="2023-05-16T21:42:59.704" v="132" actId="1076"/>
          <ac:picMkLst>
            <pc:docMk/>
            <pc:sldMk cId="402974724" sldId="349"/>
            <ac:picMk id="6" creationId="{94F96893-2609-3397-F478-593C6F2BCC8B}"/>
          </ac:picMkLst>
        </pc:picChg>
        <pc:picChg chg="add mod">
          <ac:chgData name="HUANG LIN" userId="S::s301266@studenti.polito.it::1b5dcee7-0d99-405d-a0f0-637f14b99ad0" providerId="AD" clId="Web-{E37CB496-11AD-4885-84B0-E80E92DC8680}" dt="2023-05-16T21:42:48.095" v="129" actId="14100"/>
          <ac:picMkLst>
            <pc:docMk/>
            <pc:sldMk cId="402974724" sldId="349"/>
            <ac:picMk id="8" creationId="{138CA12C-A44E-3F79-49CE-94CD05056151}"/>
          </ac:picMkLst>
        </pc:picChg>
      </pc:sldChg>
      <pc:sldChg chg="addSp delSp modSp">
        <pc:chgData name="HUANG LIN" userId="S::s301266@studenti.polito.it::1b5dcee7-0d99-405d-a0f0-637f14b99ad0" providerId="AD" clId="Web-{E37CB496-11AD-4885-84B0-E80E92DC8680}" dt="2023-05-16T21:42:27.391" v="124" actId="14100"/>
        <pc:sldMkLst>
          <pc:docMk/>
          <pc:sldMk cId="2995164932" sldId="350"/>
        </pc:sldMkLst>
        <pc:spChg chg="mod ord">
          <ac:chgData name="HUANG LIN" userId="S::s301266@studenti.polito.it::1b5dcee7-0d99-405d-a0f0-637f14b99ad0" providerId="AD" clId="Web-{E37CB496-11AD-4885-84B0-E80E92DC8680}" dt="2023-05-16T21:42:18.031" v="122" actId="1076"/>
          <ac:spMkLst>
            <pc:docMk/>
            <pc:sldMk cId="2995164932" sldId="350"/>
            <ac:spMk id="6" creationId="{8C85ECFB-E8FE-61E3-0D17-5F6C3C6E348A}"/>
          </ac:spMkLst>
        </pc:spChg>
        <pc:picChg chg="del">
          <ac:chgData name="HUANG LIN" userId="S::s301266@studenti.polito.it::1b5dcee7-0d99-405d-a0f0-637f14b99ad0" providerId="AD" clId="Web-{E37CB496-11AD-4885-84B0-E80E92DC8680}" dt="2023-05-16T20:29:55.347" v="6"/>
          <ac:picMkLst>
            <pc:docMk/>
            <pc:sldMk cId="2995164932" sldId="350"/>
            <ac:picMk id="2" creationId="{CA9D0704-9E0B-900D-4DB2-5CDEEBFEAD54}"/>
          </ac:picMkLst>
        </pc:picChg>
        <pc:picChg chg="add del mod">
          <ac:chgData name="HUANG LIN" userId="S::s301266@studenti.polito.it::1b5dcee7-0d99-405d-a0f0-637f14b99ad0" providerId="AD" clId="Web-{E37CB496-11AD-4885-84B0-E80E92DC8680}" dt="2023-05-16T21:41:35.467" v="114"/>
          <ac:picMkLst>
            <pc:docMk/>
            <pc:sldMk cId="2995164932" sldId="350"/>
            <ac:picMk id="3" creationId="{92F1FA56-C88A-F088-2609-3A8666AB2139}"/>
          </ac:picMkLst>
        </pc:picChg>
        <pc:picChg chg="add mod">
          <ac:chgData name="HUANG LIN" userId="S::s301266@studenti.polito.it::1b5dcee7-0d99-405d-a0f0-637f14b99ad0" providerId="AD" clId="Web-{E37CB496-11AD-4885-84B0-E80E92DC8680}" dt="2023-05-16T21:42:27.391" v="124" actId="14100"/>
          <ac:picMkLst>
            <pc:docMk/>
            <pc:sldMk cId="2995164932" sldId="350"/>
            <ac:picMk id="8" creationId="{6B455D64-698E-D259-A640-BC90117A06D8}"/>
          </ac:picMkLst>
        </pc:picChg>
      </pc:sldChg>
      <pc:sldChg chg="ord">
        <pc:chgData name="HUANG LIN" userId="S::s301266@studenti.polito.it::1b5dcee7-0d99-405d-a0f0-637f14b99ad0" providerId="AD" clId="Web-{E37CB496-11AD-4885-84B0-E80E92DC8680}" dt="2023-05-16T19:42:20.228" v="0"/>
        <pc:sldMkLst>
          <pc:docMk/>
          <pc:sldMk cId="2954245266" sldId="355"/>
        </pc:sldMkLst>
      </pc:sldChg>
      <pc:sldChg chg="addSp delSp modSp">
        <pc:chgData name="HUANG LIN" userId="S::s301266@studenti.polito.it::1b5dcee7-0d99-405d-a0f0-637f14b99ad0" providerId="AD" clId="Web-{E37CB496-11AD-4885-84B0-E80E92DC8680}" dt="2023-05-16T21:43:41.034" v="140" actId="1076"/>
        <pc:sldMkLst>
          <pc:docMk/>
          <pc:sldMk cId="840243874" sldId="358"/>
        </pc:sldMkLst>
        <pc:spChg chg="add mod">
          <ac:chgData name="HUANG LIN" userId="S::s301266@studenti.polito.it::1b5dcee7-0d99-405d-a0f0-637f14b99ad0" providerId="AD" clId="Web-{E37CB496-11AD-4885-84B0-E80E92DC8680}" dt="2023-05-16T21:43:35.924" v="139"/>
          <ac:spMkLst>
            <pc:docMk/>
            <pc:sldMk cId="840243874" sldId="358"/>
            <ac:spMk id="9" creationId="{8AA6D645-53EC-4A14-9352-A308667EBCC9}"/>
          </ac:spMkLst>
        </pc:spChg>
        <pc:picChg chg="add del mod">
          <ac:chgData name="HUANG LIN" userId="S::s301266@studenti.polito.it::1b5dcee7-0d99-405d-a0f0-637f14b99ad0" providerId="AD" clId="Web-{E37CB496-11AD-4885-84B0-E80E92DC8680}" dt="2023-05-16T20:44:48.032" v="46"/>
          <ac:picMkLst>
            <pc:docMk/>
            <pc:sldMk cId="840243874" sldId="358"/>
            <ac:picMk id="3" creationId="{7924F4DB-2CE2-8D3E-5B17-BF5177533D10}"/>
          </ac:picMkLst>
        </pc:picChg>
        <pc:picChg chg="del mod">
          <ac:chgData name="HUANG LIN" userId="S::s301266@studenti.polito.it::1b5dcee7-0d99-405d-a0f0-637f14b99ad0" providerId="AD" clId="Web-{E37CB496-11AD-4885-84B0-E80E92DC8680}" dt="2023-05-16T21:39:15.791" v="90"/>
          <ac:picMkLst>
            <pc:docMk/>
            <pc:sldMk cId="840243874" sldId="358"/>
            <ac:picMk id="4" creationId="{8C3149BC-0D6D-4CF1-2803-10AD9EF79630}"/>
          </ac:picMkLst>
        </pc:picChg>
        <pc:picChg chg="add del mod">
          <ac:chgData name="HUANG LIN" userId="S::s301266@studenti.polito.it::1b5dcee7-0d99-405d-a0f0-637f14b99ad0" providerId="AD" clId="Web-{E37CB496-11AD-4885-84B0-E80E92DC8680}" dt="2023-05-16T20:45:10.611" v="51"/>
          <ac:picMkLst>
            <pc:docMk/>
            <pc:sldMk cId="840243874" sldId="358"/>
            <ac:picMk id="5" creationId="{73F7F57B-7357-0603-AC74-6F45516C279B}"/>
          </ac:picMkLst>
        </pc:picChg>
        <pc:picChg chg="add mod">
          <ac:chgData name="HUANG LIN" userId="S::s301266@studenti.polito.it::1b5dcee7-0d99-405d-a0f0-637f14b99ad0" providerId="AD" clId="Web-{E37CB496-11AD-4885-84B0-E80E92DC8680}" dt="2023-05-16T21:43:41.034" v="140" actId="1076"/>
          <ac:picMkLst>
            <pc:docMk/>
            <pc:sldMk cId="840243874" sldId="358"/>
            <ac:picMk id="6" creationId="{6F900DA2-13B1-6E67-E1D0-9DFEAB5BEEBC}"/>
          </ac:picMkLst>
        </pc:picChg>
        <pc:picChg chg="add mod">
          <ac:chgData name="HUANG LIN" userId="S::s301266@studenti.polito.it::1b5dcee7-0d99-405d-a0f0-637f14b99ad0" providerId="AD" clId="Web-{E37CB496-11AD-4885-84B0-E80E92DC8680}" dt="2023-05-16T21:39:57.777" v="95" actId="1076"/>
          <ac:picMkLst>
            <pc:docMk/>
            <pc:sldMk cId="840243874" sldId="358"/>
            <ac:picMk id="8" creationId="{5322335B-AB22-8914-40EB-DBDB36B71872}"/>
          </ac:picMkLst>
        </pc:picChg>
      </pc:sldChg>
    </pc:docChg>
  </pc:docChgLst>
  <pc:docChgLst>
    <pc:chgData name="CHEN JINGSI" userId="S::s296135@studenti.polito.it::2c6a6994-749a-46da-a9cf-6c6b6bb4c573" providerId="AD" clId="Web-{B46D30E1-38E4-45BA-BF8B-0D3244BD2089}"/>
    <pc:docChg chg="addSld delSld modSld modMainMaster">
      <pc:chgData name="CHEN JINGSI" userId="S::s296135@studenti.polito.it::2c6a6994-749a-46da-a9cf-6c6b6bb4c573" providerId="AD" clId="Web-{B46D30E1-38E4-45BA-BF8B-0D3244BD2089}" dt="2023-05-16T21:38:00.341" v="29"/>
      <pc:docMkLst>
        <pc:docMk/>
      </pc:docMkLst>
      <pc:sldChg chg="modSp">
        <pc:chgData name="CHEN JINGSI" userId="S::s296135@studenti.polito.it::2c6a6994-749a-46da-a9cf-6c6b6bb4c573" providerId="AD" clId="Web-{B46D30E1-38E4-45BA-BF8B-0D3244BD2089}" dt="2023-05-16T21:17:49.157" v="12" actId="20577"/>
        <pc:sldMkLst>
          <pc:docMk/>
          <pc:sldMk cId="0" sldId="256"/>
        </pc:sldMkLst>
        <pc:spChg chg="mod">
          <ac:chgData name="CHEN JINGSI" userId="S::s296135@studenti.polito.it::2c6a6994-749a-46da-a9cf-6c6b6bb4c573" providerId="AD" clId="Web-{B46D30E1-38E4-45BA-BF8B-0D3244BD2089}" dt="2023-05-16T21:17:49.157" v="12" actId="20577"/>
          <ac:spMkLst>
            <pc:docMk/>
            <pc:sldMk cId="0" sldId="256"/>
            <ac:spMk id="5" creationId="{4C51D62C-5F52-EF1C-138B-041679BB5F94}"/>
          </ac:spMkLst>
        </pc:spChg>
        <pc:spChg chg="mod">
          <ac:chgData name="CHEN JINGSI" userId="S::s296135@studenti.polito.it::2c6a6994-749a-46da-a9cf-6c6b6bb4c573" providerId="AD" clId="Web-{B46D30E1-38E4-45BA-BF8B-0D3244BD2089}" dt="2023-05-16T20:26:22.403" v="6" actId="20577"/>
          <ac:spMkLst>
            <pc:docMk/>
            <pc:sldMk cId="0" sldId="256"/>
            <ac:spMk id="11" creationId="{33C6CE68-C2C1-F282-524E-5539C7E285BE}"/>
          </ac:spMkLst>
        </pc:spChg>
      </pc:sldChg>
      <pc:sldChg chg="addSp modSp">
        <pc:chgData name="CHEN JINGSI" userId="S::s296135@studenti.polito.it::2c6a6994-749a-46da-a9cf-6c6b6bb4c573" providerId="AD" clId="Web-{B46D30E1-38E4-45BA-BF8B-0D3244BD2089}" dt="2023-05-16T20:54:13.427" v="9"/>
        <pc:sldMkLst>
          <pc:docMk/>
          <pc:sldMk cId="565063595" sldId="340"/>
        </pc:sldMkLst>
        <pc:spChg chg="add mod">
          <ac:chgData name="CHEN JINGSI" userId="S::s296135@studenti.polito.it::2c6a6994-749a-46da-a9cf-6c6b6bb4c573" providerId="AD" clId="Web-{B46D30E1-38E4-45BA-BF8B-0D3244BD2089}" dt="2023-05-16T20:54:13.427" v="9"/>
          <ac:spMkLst>
            <pc:docMk/>
            <pc:sldMk cId="565063595" sldId="340"/>
            <ac:spMk id="8" creationId="{C14A0DA2-9115-0D2C-2527-349DEF4B1F15}"/>
          </ac:spMkLst>
        </pc:spChg>
      </pc:sldChg>
      <pc:sldChg chg="addSp modSp">
        <pc:chgData name="CHEN JINGSI" userId="S::s296135@studenti.polito.it::2c6a6994-749a-46da-a9cf-6c6b6bb4c573" providerId="AD" clId="Web-{B46D30E1-38E4-45BA-BF8B-0D3244BD2089}" dt="2023-05-16T20:54:28.850" v="11"/>
        <pc:sldMkLst>
          <pc:docMk/>
          <pc:sldMk cId="126589775" sldId="345"/>
        </pc:sldMkLst>
        <pc:spChg chg="add mod">
          <ac:chgData name="CHEN JINGSI" userId="S::s296135@studenti.polito.it::2c6a6994-749a-46da-a9cf-6c6b6bb4c573" providerId="AD" clId="Web-{B46D30E1-38E4-45BA-BF8B-0D3244BD2089}" dt="2023-05-16T20:54:28.850" v="11"/>
          <ac:spMkLst>
            <pc:docMk/>
            <pc:sldMk cId="126589775" sldId="345"/>
            <ac:spMk id="8" creationId="{430F920A-50CA-6113-CB0F-D53D6257AA71}"/>
          </ac:spMkLst>
        </pc:spChg>
      </pc:sldChg>
      <pc:sldChg chg="addSp modSp">
        <pc:chgData name="CHEN JINGSI" userId="S::s296135@studenti.polito.it::2c6a6994-749a-46da-a9cf-6c6b6bb4c573" providerId="AD" clId="Web-{B46D30E1-38E4-45BA-BF8B-0D3244BD2089}" dt="2023-05-16T20:54:28.850" v="11"/>
        <pc:sldMkLst>
          <pc:docMk/>
          <pc:sldMk cId="3465091535" sldId="347"/>
        </pc:sldMkLst>
        <pc:spChg chg="add mod">
          <ac:chgData name="CHEN JINGSI" userId="S::s296135@studenti.polito.it::2c6a6994-749a-46da-a9cf-6c6b6bb4c573" providerId="AD" clId="Web-{B46D30E1-38E4-45BA-BF8B-0D3244BD2089}" dt="2023-05-16T20:54:28.850" v="11"/>
          <ac:spMkLst>
            <pc:docMk/>
            <pc:sldMk cId="3465091535" sldId="347"/>
            <ac:spMk id="23" creationId="{F9A472B6-B894-408B-D098-79DCDB380057}"/>
          </ac:spMkLst>
        </pc:spChg>
      </pc:sldChg>
      <pc:sldChg chg="addSp modSp">
        <pc:chgData name="CHEN JINGSI" userId="S::s296135@studenti.polito.it::2c6a6994-749a-46da-a9cf-6c6b6bb4c573" providerId="AD" clId="Web-{B46D30E1-38E4-45BA-BF8B-0D3244BD2089}" dt="2023-05-16T20:54:28.850" v="11"/>
        <pc:sldMkLst>
          <pc:docMk/>
          <pc:sldMk cId="598547174" sldId="348"/>
        </pc:sldMkLst>
        <pc:spChg chg="add mod">
          <ac:chgData name="CHEN JINGSI" userId="S::s296135@studenti.polito.it::2c6a6994-749a-46da-a9cf-6c6b6bb4c573" providerId="AD" clId="Web-{B46D30E1-38E4-45BA-BF8B-0D3244BD2089}" dt="2023-05-16T20:54:28.850" v="11"/>
          <ac:spMkLst>
            <pc:docMk/>
            <pc:sldMk cId="598547174" sldId="348"/>
            <ac:spMk id="2" creationId="{6F982DBD-1E1D-79E9-C29A-D4CC9C23F2B6}"/>
          </ac:spMkLst>
        </pc:spChg>
      </pc:sldChg>
      <pc:sldChg chg="addSp modSp">
        <pc:chgData name="CHEN JINGSI" userId="S::s296135@studenti.polito.it::2c6a6994-749a-46da-a9cf-6c6b6bb4c573" providerId="AD" clId="Web-{B46D30E1-38E4-45BA-BF8B-0D3244BD2089}" dt="2023-05-16T20:54:28.850" v="11"/>
        <pc:sldMkLst>
          <pc:docMk/>
          <pc:sldMk cId="402974724" sldId="349"/>
        </pc:sldMkLst>
        <pc:spChg chg="add mod">
          <ac:chgData name="CHEN JINGSI" userId="S::s296135@studenti.polito.it::2c6a6994-749a-46da-a9cf-6c6b6bb4c573" providerId="AD" clId="Web-{B46D30E1-38E4-45BA-BF8B-0D3244BD2089}" dt="2023-05-16T20:54:28.850" v="11"/>
          <ac:spMkLst>
            <pc:docMk/>
            <pc:sldMk cId="402974724" sldId="349"/>
            <ac:spMk id="5" creationId="{975020E9-457E-523F-BD43-F4053D54F772}"/>
          </ac:spMkLst>
        </pc:spChg>
      </pc:sldChg>
      <pc:sldChg chg="addSp modSp">
        <pc:chgData name="CHEN JINGSI" userId="S::s296135@studenti.polito.it::2c6a6994-749a-46da-a9cf-6c6b6bb4c573" providerId="AD" clId="Web-{B46D30E1-38E4-45BA-BF8B-0D3244BD2089}" dt="2023-05-16T20:54:28.850" v="11"/>
        <pc:sldMkLst>
          <pc:docMk/>
          <pc:sldMk cId="2995164932" sldId="350"/>
        </pc:sldMkLst>
        <pc:spChg chg="add mod">
          <ac:chgData name="CHEN JINGSI" userId="S::s296135@studenti.polito.it::2c6a6994-749a-46da-a9cf-6c6b6bb4c573" providerId="AD" clId="Web-{B46D30E1-38E4-45BA-BF8B-0D3244BD2089}" dt="2023-05-16T20:54:28.850" v="11"/>
          <ac:spMkLst>
            <pc:docMk/>
            <pc:sldMk cId="2995164932" sldId="350"/>
            <ac:spMk id="5" creationId="{AD2FC826-33C8-AF85-0A87-C093C5E30945}"/>
          </ac:spMkLst>
        </pc:spChg>
      </pc:sldChg>
      <pc:sldChg chg="addSp delSp modSp del">
        <pc:chgData name="CHEN JINGSI" userId="S::s296135@studenti.polito.it::2c6a6994-749a-46da-a9cf-6c6b6bb4c573" providerId="AD" clId="Web-{B46D30E1-38E4-45BA-BF8B-0D3244BD2089}" dt="2023-05-16T21:38:00.341" v="29"/>
        <pc:sldMkLst>
          <pc:docMk/>
          <pc:sldMk cId="2933125713" sldId="352"/>
        </pc:sldMkLst>
        <pc:picChg chg="add del mod">
          <ac:chgData name="CHEN JINGSI" userId="S::s296135@studenti.polito.it::2c6a6994-749a-46da-a9cf-6c6b6bb4c573" providerId="AD" clId="Web-{B46D30E1-38E4-45BA-BF8B-0D3244BD2089}" dt="2023-05-16T21:37:29.589" v="27"/>
          <ac:picMkLst>
            <pc:docMk/>
            <pc:sldMk cId="2933125713" sldId="352"/>
            <ac:picMk id="5" creationId="{9B6CE8CB-57E1-0802-8711-0D4A30988350}"/>
          </ac:picMkLst>
        </pc:picChg>
      </pc:sldChg>
      <pc:sldChg chg="addSp modSp">
        <pc:chgData name="CHEN JINGSI" userId="S::s296135@studenti.polito.it::2c6a6994-749a-46da-a9cf-6c6b6bb4c573" providerId="AD" clId="Web-{B46D30E1-38E4-45BA-BF8B-0D3244BD2089}" dt="2023-05-16T20:54:26.068" v="10"/>
        <pc:sldMkLst>
          <pc:docMk/>
          <pc:sldMk cId="2954245266" sldId="355"/>
        </pc:sldMkLst>
        <pc:spChg chg="add mod">
          <ac:chgData name="CHEN JINGSI" userId="S::s296135@studenti.polito.it::2c6a6994-749a-46da-a9cf-6c6b6bb4c573" providerId="AD" clId="Web-{B46D30E1-38E4-45BA-BF8B-0D3244BD2089}" dt="2023-05-16T20:54:26.068" v="10"/>
          <ac:spMkLst>
            <pc:docMk/>
            <pc:sldMk cId="2954245266" sldId="355"/>
            <ac:spMk id="3" creationId="{16C22C55-2ACF-CF89-DFD2-0C7F6EEBD4A4}"/>
          </ac:spMkLst>
        </pc:spChg>
      </pc:sldChg>
      <pc:sldChg chg="modSp">
        <pc:chgData name="CHEN JINGSI" userId="S::s296135@studenti.polito.it::2c6a6994-749a-46da-a9cf-6c6b6bb4c573" providerId="AD" clId="Web-{B46D30E1-38E4-45BA-BF8B-0D3244BD2089}" dt="2023-05-16T21:19:55.740" v="24"/>
        <pc:sldMkLst>
          <pc:docMk/>
          <pc:sldMk cId="324668933" sldId="356"/>
        </pc:sldMkLst>
        <pc:graphicFrameChg chg="mod modGraphic">
          <ac:chgData name="CHEN JINGSI" userId="S::s296135@studenti.polito.it::2c6a6994-749a-46da-a9cf-6c6b6bb4c573" providerId="AD" clId="Web-{B46D30E1-38E4-45BA-BF8B-0D3244BD2089}" dt="2023-05-16T21:19:55.740" v="24"/>
          <ac:graphicFrameMkLst>
            <pc:docMk/>
            <pc:sldMk cId="324668933" sldId="356"/>
            <ac:graphicFrameMk id="6" creationId="{2A84395D-0707-9424-B95E-E30BE8042836}"/>
          </ac:graphicFrameMkLst>
        </pc:graphicFrameChg>
      </pc:sldChg>
      <pc:sldChg chg="addSp modSp">
        <pc:chgData name="CHEN JINGSI" userId="S::s296135@studenti.polito.it::2c6a6994-749a-46da-a9cf-6c6b6bb4c573" providerId="AD" clId="Web-{B46D30E1-38E4-45BA-BF8B-0D3244BD2089}" dt="2023-05-16T20:54:28.850" v="11"/>
        <pc:sldMkLst>
          <pc:docMk/>
          <pc:sldMk cId="840243874" sldId="358"/>
        </pc:sldMkLst>
        <pc:spChg chg="mod">
          <ac:chgData name="CHEN JINGSI" userId="S::s296135@studenti.polito.it::2c6a6994-749a-46da-a9cf-6c6b6bb4c573" providerId="AD" clId="Web-{B46D30E1-38E4-45BA-BF8B-0D3244BD2089}" dt="2023-05-16T20:52:25.720" v="8" actId="20577"/>
          <ac:spMkLst>
            <pc:docMk/>
            <pc:sldMk cId="840243874" sldId="358"/>
            <ac:spMk id="2" creationId="{5DC741E7-F1D6-B009-10CF-6058F6D0A583}"/>
          </ac:spMkLst>
        </pc:spChg>
        <pc:spChg chg="add mod">
          <ac:chgData name="CHEN JINGSI" userId="S::s296135@studenti.polito.it::2c6a6994-749a-46da-a9cf-6c6b6bb4c573" providerId="AD" clId="Web-{B46D30E1-38E4-45BA-BF8B-0D3244BD2089}" dt="2023-05-16T20:54:28.850" v="11"/>
          <ac:spMkLst>
            <pc:docMk/>
            <pc:sldMk cId="840243874" sldId="358"/>
            <ac:spMk id="7" creationId="{44B15794-19CC-13A3-A18E-31D1FE17F689}"/>
          </ac:spMkLst>
        </pc:spChg>
      </pc:sldChg>
      <pc:sldChg chg="add">
        <pc:chgData name="CHEN JINGSI" userId="S::s296135@studenti.polito.it::2c6a6994-749a-46da-a9cf-6c6b6bb4c573" providerId="AD" clId="Web-{B46D30E1-38E4-45BA-BF8B-0D3244BD2089}" dt="2023-05-16T21:37:42.231" v="28"/>
        <pc:sldMkLst>
          <pc:docMk/>
          <pc:sldMk cId="2016988480" sldId="361"/>
        </pc:sldMkLst>
      </pc:sldChg>
      <pc:sldMasterChg chg="mod addSldLayout modSldLayout">
        <pc:chgData name="CHEN JINGSI" userId="S::s296135@studenti.polito.it::2c6a6994-749a-46da-a9cf-6c6b6bb4c573" providerId="AD" clId="Web-{B46D30E1-38E4-45BA-BF8B-0D3244BD2089}" dt="2023-05-16T21:37:42.231" v="28"/>
        <pc:sldMasterMkLst>
          <pc:docMk/>
          <pc:sldMasterMk cId="0" sldId="2147483664"/>
        </pc:sldMasterMkLst>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65"/>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66"/>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67"/>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68"/>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69"/>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70"/>
          </pc:sldLayoutMkLst>
        </pc:sldLayoutChg>
        <pc:sldLayoutChg chg="mod">
          <pc:chgData name="CHEN JINGSI" userId="S::s296135@studenti.polito.it::2c6a6994-749a-46da-a9cf-6c6b6bb4c573" providerId="AD" clId="Web-{B46D30E1-38E4-45BA-BF8B-0D3244BD2089}" dt="2023-05-16T20:54:28.850" v="11"/>
          <pc:sldLayoutMkLst>
            <pc:docMk/>
            <pc:sldMasterMk cId="0" sldId="2147483664"/>
            <pc:sldLayoutMk cId="0" sldId="2147483671"/>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76"/>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77"/>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78"/>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79"/>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80"/>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81"/>
          </pc:sldLayoutMkLst>
        </pc:sldLayoutChg>
        <pc:sldLayoutChg chg="add">
          <pc:chgData name="CHEN JINGSI" userId="S::s296135@studenti.polito.it::2c6a6994-749a-46da-a9cf-6c6b6bb4c573" providerId="AD" clId="Web-{B46D30E1-38E4-45BA-BF8B-0D3244BD2089}" dt="2023-05-16T21:37:42.231" v="28"/>
          <pc:sldLayoutMkLst>
            <pc:docMk/>
            <pc:sldMasterMk cId="0" sldId="2147483664"/>
            <pc:sldLayoutMk cId="0" sldId="2147483682"/>
          </pc:sldLayoutMkLst>
        </pc:sldLayoutChg>
      </pc:sldMasterChg>
      <pc:sldMasterChg chg="mod modSldLayout">
        <pc:chgData name="CHEN JINGSI" userId="S::s296135@studenti.polito.it::2c6a6994-749a-46da-a9cf-6c6b6bb4c573" providerId="AD" clId="Web-{B46D30E1-38E4-45BA-BF8B-0D3244BD2089}" dt="2023-05-16T20:54:28.850" v="11"/>
        <pc:sldMasterMkLst>
          <pc:docMk/>
          <pc:sldMasterMk cId="0" sldId="2147483672"/>
        </pc:sldMasterMkLst>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60"/>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61"/>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62"/>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63"/>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73"/>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74"/>
          </pc:sldLayoutMkLst>
        </pc:sldLayoutChg>
        <pc:sldLayoutChg chg="mod">
          <pc:chgData name="CHEN JINGSI" userId="S::s296135@studenti.polito.it::2c6a6994-749a-46da-a9cf-6c6b6bb4c573" providerId="AD" clId="Web-{B46D30E1-38E4-45BA-BF8B-0D3244BD2089}" dt="2023-05-16T20:54:28.850" v="11"/>
          <pc:sldLayoutMkLst>
            <pc:docMk/>
            <pc:sldMasterMk cId="0" sldId="2147483672"/>
            <pc:sldLayoutMk cId="0" sldId="2147483675"/>
          </pc:sldLayoutMkLst>
        </pc:sldLayoutChg>
      </pc:sldMasterChg>
    </pc:docChg>
  </pc:docChgLst>
  <pc:docChgLst>
    <pc:chgData name="Li  Yangshihao" userId="S::s302568@studenti.polito.it::ee48da2e-17a2-4953-b1e7-564eeca1e514" providerId="AD" clId="Web-{3B6EC723-F71F-4E0E-BF3A-B9E7F09A7C9C}"/>
    <pc:docChg chg="modSld">
      <pc:chgData name="Li  Yangshihao" userId="S::s302568@studenti.polito.it::ee48da2e-17a2-4953-b1e7-564eeca1e514" providerId="AD" clId="Web-{3B6EC723-F71F-4E0E-BF3A-B9E7F09A7C9C}" dt="2023-05-16T23:01:46.791" v="524"/>
      <pc:docMkLst>
        <pc:docMk/>
      </pc:docMkLst>
      <pc:sldChg chg="addSp delSp modSp">
        <pc:chgData name="Li  Yangshihao" userId="S::s302568@studenti.polito.it::ee48da2e-17a2-4953-b1e7-564eeca1e514" providerId="AD" clId="Web-{3B6EC723-F71F-4E0E-BF3A-B9E7F09A7C9C}" dt="2023-05-16T23:01:46.791" v="524"/>
        <pc:sldMkLst>
          <pc:docMk/>
          <pc:sldMk cId="3747817912" sldId="362"/>
        </pc:sldMkLst>
        <pc:spChg chg="mod">
          <ac:chgData name="Li  Yangshihao" userId="S::s302568@studenti.polito.it::ee48da2e-17a2-4953-b1e7-564eeca1e514" providerId="AD" clId="Web-{3B6EC723-F71F-4E0E-BF3A-B9E7F09A7C9C}" dt="2023-05-16T22:49:41.395" v="316" actId="1076"/>
          <ac:spMkLst>
            <pc:docMk/>
            <pc:sldMk cId="3747817912" sldId="362"/>
            <ac:spMk id="3" creationId="{16C22C55-2ACF-CF89-DFD2-0C7F6EEBD4A4}"/>
          </ac:spMkLst>
        </pc:spChg>
        <pc:grpChg chg="add del">
          <ac:chgData name="Li  Yangshihao" userId="S::s302568@studenti.polito.it::ee48da2e-17a2-4953-b1e7-564eeca1e514" providerId="AD" clId="Web-{3B6EC723-F71F-4E0E-BF3A-B9E7F09A7C9C}" dt="2023-05-16T22:49:27.801" v="314"/>
          <ac:grpSpMkLst>
            <pc:docMk/>
            <pc:sldMk cId="3747817912" sldId="362"/>
            <ac:grpSpMk id="16" creationId="{699EC985-CC43-9A43-7C3D-046A1902FF8F}"/>
          </ac:grpSpMkLst>
        </pc:grpChg>
        <pc:graphicFrameChg chg="mod modGraphic">
          <ac:chgData name="Li  Yangshihao" userId="S::s302568@studenti.polito.it::ee48da2e-17a2-4953-b1e7-564eeca1e514" providerId="AD" clId="Web-{3B6EC723-F71F-4E0E-BF3A-B9E7F09A7C9C}" dt="2023-05-16T23:01:46.791" v="524"/>
          <ac:graphicFrameMkLst>
            <pc:docMk/>
            <pc:sldMk cId="3747817912" sldId="362"/>
            <ac:graphicFrameMk id="7" creationId="{7D8A467F-B93F-3591-D4D3-C24F8692036A}"/>
          </ac:graphicFrameMkLst>
        </pc:graphicFrameChg>
        <pc:picChg chg="add del mod">
          <ac:chgData name="Li  Yangshihao" userId="S::s302568@studenti.polito.it::ee48da2e-17a2-4953-b1e7-564eeca1e514" providerId="AD" clId="Web-{3B6EC723-F71F-4E0E-BF3A-B9E7F09A7C9C}" dt="2023-05-16T22:43:43.927" v="273"/>
          <ac:picMkLst>
            <pc:docMk/>
            <pc:sldMk cId="3747817912" sldId="362"/>
            <ac:picMk id="5" creationId="{CCE74FE3-4958-095F-43A6-3DFCB8863D2B}"/>
          </ac:picMkLst>
        </pc:picChg>
        <pc:picChg chg="add del mod">
          <ac:chgData name="Li  Yangshihao" userId="S::s302568@studenti.polito.it::ee48da2e-17a2-4953-b1e7-564eeca1e514" providerId="AD" clId="Web-{3B6EC723-F71F-4E0E-BF3A-B9E7F09A7C9C}" dt="2023-05-16T22:43:43.927" v="272"/>
          <ac:picMkLst>
            <pc:docMk/>
            <pc:sldMk cId="3747817912" sldId="362"/>
            <ac:picMk id="6" creationId="{DB411CD6-DD94-7F30-020D-FD9E3B5CB212}"/>
          </ac:picMkLst>
        </pc:picChg>
        <pc:picChg chg="add del mod topLvl">
          <ac:chgData name="Li  Yangshihao" userId="S::s302568@studenti.polito.it::ee48da2e-17a2-4953-b1e7-564eeca1e514" providerId="AD" clId="Web-{3B6EC723-F71F-4E0E-BF3A-B9E7F09A7C9C}" dt="2023-05-16T22:49:47.958" v="324"/>
          <ac:picMkLst>
            <pc:docMk/>
            <pc:sldMk cId="3747817912" sldId="362"/>
            <ac:picMk id="8" creationId="{6B7D6018-EEB9-1732-2BEF-510352976A6F}"/>
          </ac:picMkLst>
        </pc:picChg>
        <pc:picChg chg="add del mod topLvl">
          <ac:chgData name="Li  Yangshihao" userId="S::s302568@studenti.polito.it::ee48da2e-17a2-4953-b1e7-564eeca1e514" providerId="AD" clId="Web-{3B6EC723-F71F-4E0E-BF3A-B9E7F09A7C9C}" dt="2023-05-16T22:49:47.958" v="323"/>
          <ac:picMkLst>
            <pc:docMk/>
            <pc:sldMk cId="3747817912" sldId="362"/>
            <ac:picMk id="9" creationId="{812C7030-6E5E-C4E2-9780-17D95C878ECD}"/>
          </ac:picMkLst>
        </pc:picChg>
        <pc:picChg chg="add del mod topLvl">
          <ac:chgData name="Li  Yangshihao" userId="S::s302568@studenti.polito.it::ee48da2e-17a2-4953-b1e7-564eeca1e514" providerId="AD" clId="Web-{3B6EC723-F71F-4E0E-BF3A-B9E7F09A7C9C}" dt="2023-05-16T22:49:47.958" v="322"/>
          <ac:picMkLst>
            <pc:docMk/>
            <pc:sldMk cId="3747817912" sldId="362"/>
            <ac:picMk id="10" creationId="{EE3F3A4D-D8A4-3CF0-263C-D731B9B84148}"/>
          </ac:picMkLst>
        </pc:picChg>
        <pc:picChg chg="add del mod topLvl">
          <ac:chgData name="Li  Yangshihao" userId="S::s302568@studenti.polito.it::ee48da2e-17a2-4953-b1e7-564eeca1e514" providerId="AD" clId="Web-{3B6EC723-F71F-4E0E-BF3A-B9E7F09A7C9C}" dt="2023-05-16T22:49:47.958" v="321"/>
          <ac:picMkLst>
            <pc:docMk/>
            <pc:sldMk cId="3747817912" sldId="362"/>
            <ac:picMk id="11" creationId="{7AF2ABB8-E6BD-EEAE-29B6-251B827E6581}"/>
          </ac:picMkLst>
        </pc:picChg>
        <pc:picChg chg="add del mod topLvl">
          <ac:chgData name="Li  Yangshihao" userId="S::s302568@studenti.polito.it::ee48da2e-17a2-4953-b1e7-564eeca1e514" providerId="AD" clId="Web-{3B6EC723-F71F-4E0E-BF3A-B9E7F09A7C9C}" dt="2023-05-16T22:49:47.958" v="320"/>
          <ac:picMkLst>
            <pc:docMk/>
            <pc:sldMk cId="3747817912" sldId="362"/>
            <ac:picMk id="12" creationId="{0AE383F2-CA75-BA46-7B2D-AECED501DB54}"/>
          </ac:picMkLst>
        </pc:picChg>
        <pc:picChg chg="add del mod topLvl">
          <ac:chgData name="Li  Yangshihao" userId="S::s302568@studenti.polito.it::ee48da2e-17a2-4953-b1e7-564eeca1e514" providerId="AD" clId="Web-{3B6EC723-F71F-4E0E-BF3A-B9E7F09A7C9C}" dt="2023-05-16T22:49:47.958" v="319"/>
          <ac:picMkLst>
            <pc:docMk/>
            <pc:sldMk cId="3747817912" sldId="362"/>
            <ac:picMk id="13" creationId="{9681CEE5-763A-8FE1-D265-0615C320F35F}"/>
          </ac:picMkLst>
        </pc:picChg>
        <pc:picChg chg="add del mod topLvl">
          <ac:chgData name="Li  Yangshihao" userId="S::s302568@studenti.polito.it::ee48da2e-17a2-4953-b1e7-564eeca1e514" providerId="AD" clId="Web-{3B6EC723-F71F-4E0E-BF3A-B9E7F09A7C9C}" dt="2023-05-16T22:49:47.958" v="318"/>
          <ac:picMkLst>
            <pc:docMk/>
            <pc:sldMk cId="3747817912" sldId="362"/>
            <ac:picMk id="14" creationId="{982A2CD1-FC5C-E221-80DE-CAA3E1DB1FEF}"/>
          </ac:picMkLst>
        </pc:picChg>
        <pc:picChg chg="add del mod topLvl">
          <ac:chgData name="Li  Yangshihao" userId="S::s302568@studenti.polito.it::ee48da2e-17a2-4953-b1e7-564eeca1e514" providerId="AD" clId="Web-{3B6EC723-F71F-4E0E-BF3A-B9E7F09A7C9C}" dt="2023-05-16T22:49:47.958" v="317"/>
          <ac:picMkLst>
            <pc:docMk/>
            <pc:sldMk cId="3747817912" sldId="362"/>
            <ac:picMk id="15" creationId="{AEC386FC-9FC2-0377-B28F-A8C6C51A9406}"/>
          </ac:picMkLst>
        </pc:picChg>
      </pc:sldChg>
    </pc:docChg>
  </pc:docChgLst>
  <pc:docChgLst>
    <pc:chgData name="HUANG LIN" userId="S::s301266@studenti.polito.it::1b5dcee7-0d99-405d-a0f0-637f14b99ad0" providerId="AD" clId="Web-{320DFB42-AB3A-43D0-A938-93D726B4159B}"/>
    <pc:docChg chg="delSld">
      <pc:chgData name="HUANG LIN" userId="S::s301266@studenti.polito.it::1b5dcee7-0d99-405d-a0f0-637f14b99ad0" providerId="AD" clId="Web-{320DFB42-AB3A-43D0-A938-93D726B4159B}" dt="2023-05-09T16:32:15.048" v="0"/>
      <pc:docMkLst>
        <pc:docMk/>
      </pc:docMkLst>
      <pc:sldChg chg="del">
        <pc:chgData name="HUANG LIN" userId="S::s301266@studenti.polito.it::1b5dcee7-0d99-405d-a0f0-637f14b99ad0" providerId="AD" clId="Web-{320DFB42-AB3A-43D0-A938-93D726B4159B}" dt="2023-05-09T16:32:15.048" v="0"/>
        <pc:sldMkLst>
          <pc:docMk/>
          <pc:sldMk cId="3625760117" sldId="359"/>
        </pc:sldMkLst>
      </pc:sldChg>
    </pc:docChg>
  </pc:docChgLst>
  <pc:docChgLst>
    <pc:chgData name="Li  Yangshihao" userId="S::s302568@studenti.polito.it::ee48da2e-17a2-4953-b1e7-564eeca1e514" providerId="AD" clId="Web-{29B38739-F18C-4A97-8E48-F53C74F0D6C9}"/>
    <pc:docChg chg="addSld delSld modSld">
      <pc:chgData name="Li  Yangshihao" userId="S::s302568@studenti.polito.it::ee48da2e-17a2-4953-b1e7-564eeca1e514" providerId="AD" clId="Web-{29B38739-F18C-4A97-8E48-F53C74F0D6C9}" dt="2023-05-09T20:45:32.365" v="126"/>
      <pc:docMkLst>
        <pc:docMk/>
      </pc:docMkLst>
      <pc:sldChg chg="modSp">
        <pc:chgData name="Li  Yangshihao" userId="S::s302568@studenti.polito.it::ee48da2e-17a2-4953-b1e7-564eeca1e514" providerId="AD" clId="Web-{29B38739-F18C-4A97-8E48-F53C74F0D6C9}" dt="2023-05-09T20:45:32.365" v="126"/>
        <pc:sldMkLst>
          <pc:docMk/>
          <pc:sldMk cId="2954245266" sldId="355"/>
        </pc:sldMkLst>
        <pc:graphicFrameChg chg="mod modGraphic">
          <ac:chgData name="Li  Yangshihao" userId="S::s302568@studenti.polito.it::ee48da2e-17a2-4953-b1e7-564eeca1e514" providerId="AD" clId="Web-{29B38739-F18C-4A97-8E48-F53C74F0D6C9}" dt="2023-05-09T20:45:32.365" v="126"/>
          <ac:graphicFrameMkLst>
            <pc:docMk/>
            <pc:sldMk cId="2954245266" sldId="355"/>
            <ac:graphicFrameMk id="7" creationId="{7D8A467F-B93F-3591-D4D3-C24F8692036A}"/>
          </ac:graphicFrameMkLst>
        </pc:graphicFrameChg>
      </pc:sldChg>
      <pc:sldChg chg="addSp delSp modSp new del">
        <pc:chgData name="Li  Yangshihao" userId="S::s302568@studenti.polito.it::ee48da2e-17a2-4953-b1e7-564eeca1e514" providerId="AD" clId="Web-{29B38739-F18C-4A97-8E48-F53C74F0D6C9}" dt="2023-05-09T20:45:06.068" v="122"/>
        <pc:sldMkLst>
          <pc:docMk/>
          <pc:sldMk cId="136451488" sldId="359"/>
        </pc:sldMkLst>
        <pc:spChg chg="del">
          <ac:chgData name="Li  Yangshihao" userId="S::s302568@studenti.polito.it::ee48da2e-17a2-4953-b1e7-564eeca1e514" providerId="AD" clId="Web-{29B38739-F18C-4A97-8E48-F53C74F0D6C9}" dt="2023-05-09T20:37:11.165" v="29"/>
          <ac:spMkLst>
            <pc:docMk/>
            <pc:sldMk cId="136451488" sldId="359"/>
            <ac:spMk id="5" creationId="{5A89FD0C-0395-0993-010A-618A93A9ACF7}"/>
          </ac:spMkLst>
        </pc:spChg>
        <pc:graphicFrameChg chg="add mod ord modGraphic">
          <ac:chgData name="Li  Yangshihao" userId="S::s302568@studenti.polito.it::ee48da2e-17a2-4953-b1e7-564eeca1e514" providerId="AD" clId="Web-{29B38739-F18C-4A97-8E48-F53C74F0D6C9}" dt="2023-05-09T20:37:11.165" v="29"/>
          <ac:graphicFrameMkLst>
            <pc:docMk/>
            <pc:sldMk cId="136451488" sldId="359"/>
            <ac:graphicFrameMk id="6" creationId="{3DEF3590-4F19-D115-5DC6-7ABE16C2CF37}"/>
          </ac:graphicFrameMkLst>
        </pc:graphicFrameChg>
      </pc:sldChg>
    </pc:docChg>
  </pc:docChgLst>
  <pc:docChgLst>
    <pc:chgData name="HUANG LIN" userId="S::s301266@studenti.polito.it::1b5dcee7-0d99-405d-a0f0-637f14b99ad0" providerId="AD" clId="Web-{664A2B56-AC2C-4211-A2D3-AADED3543452}"/>
    <pc:docChg chg="addSld">
      <pc:chgData name="HUANG LIN" userId="S::s301266@studenti.polito.it::1b5dcee7-0d99-405d-a0f0-637f14b99ad0" providerId="AD" clId="Web-{664A2B56-AC2C-4211-A2D3-AADED3543452}" dt="2023-05-09T15:53:16.306" v="0"/>
      <pc:docMkLst>
        <pc:docMk/>
      </pc:docMkLst>
      <pc:sldChg chg="new">
        <pc:chgData name="HUANG LIN" userId="S::s301266@studenti.polito.it::1b5dcee7-0d99-405d-a0f0-637f14b99ad0" providerId="AD" clId="Web-{664A2B56-AC2C-4211-A2D3-AADED3543452}" dt="2023-05-09T15:53:16.306" v="0"/>
        <pc:sldMkLst>
          <pc:docMk/>
          <pc:sldMk cId="3625760117" sldId="359"/>
        </pc:sldMkLst>
      </pc:sldChg>
    </pc:docChg>
  </pc:docChgLst>
  <pc:docChgLst>
    <pc:chgData name="Li  Yangshihao" userId="S::s302568@studenti.polito.it::ee48da2e-17a2-4953-b1e7-564eeca1e514" providerId="AD" clId="Web-{83FEF11B-CE25-4599-96E8-CA6A67A40FDC}"/>
    <pc:docChg chg="modSld sldOrd">
      <pc:chgData name="Li  Yangshihao" userId="S::s302568@studenti.polito.it::ee48da2e-17a2-4953-b1e7-564eeca1e514" providerId="AD" clId="Web-{83FEF11B-CE25-4599-96E8-CA6A67A40FDC}" dt="2023-05-16T19:51:57.220" v="17" actId="1076"/>
      <pc:docMkLst>
        <pc:docMk/>
      </pc:docMkLst>
      <pc:sldChg chg="addSp delSp modSp">
        <pc:chgData name="Li  Yangshihao" userId="S::s302568@studenti.polito.it::ee48da2e-17a2-4953-b1e7-564eeca1e514" providerId="AD" clId="Web-{83FEF11B-CE25-4599-96E8-CA6A67A40FDC}" dt="2023-05-16T19:51:57.220" v="17" actId="1076"/>
        <pc:sldMkLst>
          <pc:docMk/>
          <pc:sldMk cId="126589775" sldId="345"/>
        </pc:sldMkLst>
        <pc:spChg chg="mod">
          <ac:chgData name="Li  Yangshihao" userId="S::s302568@studenti.polito.it::ee48da2e-17a2-4953-b1e7-564eeca1e514" providerId="AD" clId="Web-{83FEF11B-CE25-4599-96E8-CA6A67A40FDC}" dt="2023-05-16T19:51:43.391" v="12" actId="14100"/>
          <ac:spMkLst>
            <pc:docMk/>
            <pc:sldMk cId="126589775" sldId="345"/>
            <ac:spMk id="7" creationId="{3B86F339-C48E-7335-81B4-1B1FFF81CD19}"/>
          </ac:spMkLst>
        </pc:spChg>
        <pc:picChg chg="add mod">
          <ac:chgData name="Li  Yangshihao" userId="S::s302568@studenti.polito.it::ee48da2e-17a2-4953-b1e7-564eeca1e514" providerId="AD" clId="Web-{83FEF11B-CE25-4599-96E8-CA6A67A40FDC}" dt="2023-05-16T19:46:51.851" v="3" actId="1076"/>
          <ac:picMkLst>
            <pc:docMk/>
            <pc:sldMk cId="126589775" sldId="345"/>
            <ac:picMk id="5" creationId="{76B02C15-FBEC-DC3D-17B7-FE391EBEAD3F}"/>
          </ac:picMkLst>
        </pc:picChg>
        <pc:picChg chg="mod">
          <ac:chgData name="Li  Yangshihao" userId="S::s302568@studenti.polito.it::ee48da2e-17a2-4953-b1e7-564eeca1e514" providerId="AD" clId="Web-{83FEF11B-CE25-4599-96E8-CA6A67A40FDC}" dt="2023-05-16T19:51:46.470" v="13" actId="1076"/>
          <ac:picMkLst>
            <pc:docMk/>
            <pc:sldMk cId="126589775" sldId="345"/>
            <ac:picMk id="6" creationId="{CC9420EF-B350-5815-183C-29E246732629}"/>
          </ac:picMkLst>
        </pc:picChg>
        <pc:picChg chg="del">
          <ac:chgData name="Li  Yangshihao" userId="S::s302568@studenti.polito.it::ee48da2e-17a2-4953-b1e7-564eeca1e514" providerId="AD" clId="Web-{83FEF11B-CE25-4599-96E8-CA6A67A40FDC}" dt="2023-05-16T19:46:47.023" v="2"/>
          <ac:picMkLst>
            <pc:docMk/>
            <pc:sldMk cId="126589775" sldId="345"/>
            <ac:picMk id="8" creationId="{F771F80B-1522-AA95-496F-888151B1D2AD}"/>
          </ac:picMkLst>
        </pc:picChg>
        <pc:picChg chg="add mod">
          <ac:chgData name="Li  Yangshihao" userId="S::s302568@studenti.polito.it::ee48da2e-17a2-4953-b1e7-564eeca1e514" providerId="AD" clId="Web-{83FEF11B-CE25-4599-96E8-CA6A67A40FDC}" dt="2023-05-16T19:51:57.220" v="17" actId="1076"/>
          <ac:picMkLst>
            <pc:docMk/>
            <pc:sldMk cId="126589775" sldId="345"/>
            <ac:picMk id="9" creationId="{A36F11E9-A4F4-09DA-44C0-043A5CEB1D7B}"/>
          </ac:picMkLst>
        </pc:picChg>
        <pc:picChg chg="del">
          <ac:chgData name="Li  Yangshihao" userId="S::s302568@studenti.polito.it::ee48da2e-17a2-4953-b1e7-564eeca1e514" providerId="AD" clId="Web-{83FEF11B-CE25-4599-96E8-CA6A67A40FDC}" dt="2023-05-16T19:51:22.422" v="4"/>
          <ac:picMkLst>
            <pc:docMk/>
            <pc:sldMk cId="126589775" sldId="345"/>
            <ac:picMk id="10" creationId="{5903794A-3D2D-133F-ABD7-5BBE56C50851}"/>
          </ac:picMkLst>
        </pc:picChg>
      </pc:sldChg>
      <pc:sldChg chg="ord">
        <pc:chgData name="Li  Yangshihao" userId="S::s302568@studenti.polito.it::ee48da2e-17a2-4953-b1e7-564eeca1e514" providerId="AD" clId="Web-{83FEF11B-CE25-4599-96E8-CA6A67A40FDC}" dt="2023-05-16T19:45:05.488" v="0"/>
        <pc:sldMkLst>
          <pc:docMk/>
          <pc:sldMk cId="2954245266" sldId="355"/>
        </pc:sldMkLst>
      </pc:sldChg>
    </pc:docChg>
  </pc:docChgLst>
  <pc:docChgLst>
    <pc:chgData name="YIN JUN" userId="40f53ba7-6859-4e15-b6a0-4f636ac10741" providerId="ADAL" clId="{6729D566-E990-8643-8471-8318E9E7CCCD}"/>
    <pc:docChg chg="addSld modSld">
      <pc:chgData name="YIN JUN" userId="40f53ba7-6859-4e15-b6a0-4f636ac10741" providerId="ADAL" clId="{6729D566-E990-8643-8471-8318E9E7CCCD}" dt="2023-06-19T20:15:12.385" v="2" actId="1076"/>
      <pc:docMkLst>
        <pc:docMk/>
      </pc:docMkLst>
      <pc:sldChg chg="modSp add mod">
        <pc:chgData name="YIN JUN" userId="40f53ba7-6859-4e15-b6a0-4f636ac10741" providerId="ADAL" clId="{6729D566-E990-8643-8471-8318E9E7CCCD}" dt="2023-06-19T20:15:12.385" v="2" actId="1076"/>
        <pc:sldMkLst>
          <pc:docMk/>
          <pc:sldMk cId="2514733596" sldId="368"/>
        </pc:sldMkLst>
        <pc:spChg chg="mod">
          <ac:chgData name="YIN JUN" userId="40f53ba7-6859-4e15-b6a0-4f636ac10741" providerId="ADAL" clId="{6729D566-E990-8643-8471-8318E9E7CCCD}" dt="2023-06-19T20:15:12.385" v="2" actId="1076"/>
          <ac:spMkLst>
            <pc:docMk/>
            <pc:sldMk cId="2514733596" sldId="368"/>
            <ac:spMk id="5" creationId="{B1453B25-3D98-76CC-52F2-A65940944E5C}"/>
          </ac:spMkLst>
        </pc:spChg>
        <pc:cxnChg chg="mod">
          <ac:chgData name="YIN JUN" userId="40f53ba7-6859-4e15-b6a0-4f636ac10741" providerId="ADAL" clId="{6729D566-E990-8643-8471-8318E9E7CCCD}" dt="2023-06-19T20:15:08.046" v="1" actId="1076"/>
          <ac:cxnSpMkLst>
            <pc:docMk/>
            <pc:sldMk cId="2514733596" sldId="368"/>
            <ac:cxnSpMk id="9" creationId="{D323EE1D-7F6D-34BF-B989-E9591F02848C}"/>
          </ac:cxnSpMkLst>
        </pc:cxnChg>
      </pc:sldChg>
    </pc:docChg>
  </pc:docChgLst>
  <pc:docChgLst>
    <pc:chgData name="CHEN JINGSI" userId="S::s296135@studenti.polito.it::2c6a6994-749a-46da-a9cf-6c6b6bb4c573" providerId="AD" clId="Web-{1ACD9065-055E-42F6-885C-E7C62C8DA6FB}"/>
    <pc:docChg chg="addSld delSld modSld">
      <pc:chgData name="CHEN JINGSI" userId="S::s296135@studenti.polito.it::2c6a6994-749a-46da-a9cf-6c6b6bb4c573" providerId="AD" clId="Web-{1ACD9065-055E-42F6-885C-E7C62C8DA6FB}" dt="2023-05-16T15:18:19.937" v="37" actId="1076"/>
      <pc:docMkLst>
        <pc:docMk/>
      </pc:docMkLst>
      <pc:sldChg chg="modSp">
        <pc:chgData name="CHEN JINGSI" userId="S::s296135@studenti.polito.it::2c6a6994-749a-46da-a9cf-6c6b6bb4c573" providerId="AD" clId="Web-{1ACD9065-055E-42F6-885C-E7C62C8DA6FB}" dt="2023-05-16T14:57:31.398" v="21" actId="20577"/>
        <pc:sldMkLst>
          <pc:docMk/>
          <pc:sldMk cId="2122089933" sldId="332"/>
        </pc:sldMkLst>
        <pc:spChg chg="mod">
          <ac:chgData name="CHEN JINGSI" userId="S::s296135@studenti.polito.it::2c6a6994-749a-46da-a9cf-6c6b6bb4c573" providerId="AD" clId="Web-{1ACD9065-055E-42F6-885C-E7C62C8DA6FB}" dt="2023-05-16T14:57:31.398" v="21" actId="20577"/>
          <ac:spMkLst>
            <pc:docMk/>
            <pc:sldMk cId="2122089933" sldId="332"/>
            <ac:spMk id="14" creationId="{DF30948C-C290-008E-BF17-91A1822F6CB7}"/>
          </ac:spMkLst>
        </pc:spChg>
      </pc:sldChg>
      <pc:sldChg chg="del">
        <pc:chgData name="CHEN JINGSI" userId="S::s296135@studenti.polito.it::2c6a6994-749a-46da-a9cf-6c6b6bb4c573" providerId="AD" clId="Web-{1ACD9065-055E-42F6-885C-E7C62C8DA6FB}" dt="2023-05-16T15:14:39.726" v="23"/>
        <pc:sldMkLst>
          <pc:docMk/>
          <pc:sldMk cId="24899032" sldId="338"/>
        </pc:sldMkLst>
      </pc:sldChg>
      <pc:sldChg chg="modSp">
        <pc:chgData name="CHEN JINGSI" userId="S::s296135@studenti.polito.it::2c6a6994-749a-46da-a9cf-6c6b6bb4c573" providerId="AD" clId="Web-{1ACD9065-055E-42F6-885C-E7C62C8DA6FB}" dt="2023-05-16T14:49:21.598" v="16" actId="20577"/>
        <pc:sldMkLst>
          <pc:docMk/>
          <pc:sldMk cId="2483509572" sldId="353"/>
        </pc:sldMkLst>
        <pc:spChg chg="mod">
          <ac:chgData name="CHEN JINGSI" userId="S::s296135@studenti.polito.it::2c6a6994-749a-46da-a9cf-6c6b6bb4c573" providerId="AD" clId="Web-{1ACD9065-055E-42F6-885C-E7C62C8DA6FB}" dt="2023-05-16T14:49:21.598" v="16" actId="20577"/>
          <ac:spMkLst>
            <pc:docMk/>
            <pc:sldMk cId="2483509572" sldId="353"/>
            <ac:spMk id="1049" creationId="{55C63BC5-F295-3028-5BFF-62BAE1E31764}"/>
          </ac:spMkLst>
        </pc:spChg>
        <pc:spChg chg="mod">
          <ac:chgData name="CHEN JINGSI" userId="S::s296135@studenti.polito.it::2c6a6994-749a-46da-a9cf-6c6b6bb4c573" providerId="AD" clId="Web-{1ACD9065-055E-42F6-885C-E7C62C8DA6FB}" dt="2023-05-16T14:34:22.799" v="6" actId="20577"/>
          <ac:spMkLst>
            <pc:docMk/>
            <pc:sldMk cId="2483509572" sldId="353"/>
            <ac:spMk id="1056" creationId="{55620A60-81E4-3ED9-C91E-E82ADBBCECB6}"/>
          </ac:spMkLst>
        </pc:spChg>
      </pc:sldChg>
      <pc:sldChg chg="modSp">
        <pc:chgData name="CHEN JINGSI" userId="S::s296135@studenti.polito.it::2c6a6994-749a-46da-a9cf-6c6b6bb4c573" providerId="AD" clId="Web-{1ACD9065-055E-42F6-885C-E7C62C8DA6FB}" dt="2023-05-16T14:38:41.262" v="12"/>
        <pc:sldMkLst>
          <pc:docMk/>
          <pc:sldMk cId="324668933" sldId="356"/>
        </pc:sldMkLst>
        <pc:graphicFrameChg chg="mod modGraphic">
          <ac:chgData name="CHEN JINGSI" userId="S::s296135@studenti.polito.it::2c6a6994-749a-46da-a9cf-6c6b6bb4c573" providerId="AD" clId="Web-{1ACD9065-055E-42F6-885C-E7C62C8DA6FB}" dt="2023-05-16T14:38:41.262" v="12"/>
          <ac:graphicFrameMkLst>
            <pc:docMk/>
            <pc:sldMk cId="324668933" sldId="356"/>
            <ac:graphicFrameMk id="6" creationId="{2A84395D-0707-9424-B95E-E30BE8042836}"/>
          </ac:graphicFrameMkLst>
        </pc:graphicFrameChg>
      </pc:sldChg>
      <pc:sldChg chg="modSp add">
        <pc:chgData name="CHEN JINGSI" userId="S::s296135@studenti.polito.it::2c6a6994-749a-46da-a9cf-6c6b6bb4c573" providerId="AD" clId="Web-{1ACD9065-055E-42F6-885C-E7C62C8DA6FB}" dt="2023-05-16T15:18:19.937" v="37" actId="1076"/>
        <pc:sldMkLst>
          <pc:docMk/>
          <pc:sldMk cId="2505882932" sldId="359"/>
        </pc:sldMkLst>
        <pc:spChg chg="mod">
          <ac:chgData name="CHEN JINGSI" userId="S::s296135@studenti.polito.it::2c6a6994-749a-46da-a9cf-6c6b6bb4c573" providerId="AD" clId="Web-{1ACD9065-055E-42F6-885C-E7C62C8DA6FB}" dt="2023-05-16T15:18:08.233" v="35" actId="14100"/>
          <ac:spMkLst>
            <pc:docMk/>
            <pc:sldMk cId="2505882932" sldId="359"/>
            <ac:spMk id="39" creationId="{BFE13184-30A4-56D1-BA89-C1877D179980}"/>
          </ac:spMkLst>
        </pc:spChg>
        <pc:spChg chg="mod">
          <ac:chgData name="CHEN JINGSI" userId="S::s296135@studenti.polito.it::2c6a6994-749a-46da-a9cf-6c6b6bb4c573" providerId="AD" clId="Web-{1ACD9065-055E-42F6-885C-E7C62C8DA6FB}" dt="2023-05-16T15:18:19.937" v="37" actId="1076"/>
          <ac:spMkLst>
            <pc:docMk/>
            <pc:sldMk cId="2505882932" sldId="359"/>
            <ac:spMk id="41" creationId="{A85AB26E-B36A-CA5F-6B58-23B1C899A01B}"/>
          </ac:spMkLst>
        </pc:spChg>
        <pc:picChg chg="mod">
          <ac:chgData name="CHEN JINGSI" userId="S::s296135@studenti.polito.it::2c6a6994-749a-46da-a9cf-6c6b6bb4c573" providerId="AD" clId="Web-{1ACD9065-055E-42F6-885C-E7C62C8DA6FB}" dt="2023-05-16T15:18:15.421" v="36" actId="1076"/>
          <ac:picMkLst>
            <pc:docMk/>
            <pc:sldMk cId="2505882932" sldId="359"/>
            <ac:picMk id="11" creationId="{3D218603-B7BB-E43D-30FD-6AF53E302303}"/>
          </ac:picMkLst>
        </pc:picChg>
      </pc:sldChg>
    </pc:docChg>
  </pc:docChgLst>
  <pc:docChgLst>
    <pc:chgData name="Li  Yangshihao" userId="S::s302568@studenti.polito.it::ee48da2e-17a2-4953-b1e7-564eeca1e514" providerId="AD" clId="Web-{3471F2F2-DE3A-F709-1183-6D82AD1DFEC9}"/>
    <pc:docChg chg="modSld">
      <pc:chgData name="Li  Yangshihao" userId="S::s302568@studenti.polito.it::ee48da2e-17a2-4953-b1e7-564eeca1e514" providerId="AD" clId="Web-{3471F2F2-DE3A-F709-1183-6D82AD1DFEC9}" dt="2023-05-09T20:56:48.546" v="27" actId="1076"/>
      <pc:docMkLst>
        <pc:docMk/>
      </pc:docMkLst>
      <pc:sldChg chg="modSp">
        <pc:chgData name="Li  Yangshihao" userId="S::s302568@studenti.polito.it::ee48da2e-17a2-4953-b1e7-564eeca1e514" providerId="AD" clId="Web-{3471F2F2-DE3A-F709-1183-6D82AD1DFEC9}" dt="2023-05-09T20:56:48.546" v="27" actId="1076"/>
        <pc:sldMkLst>
          <pc:docMk/>
          <pc:sldMk cId="2954245266" sldId="355"/>
        </pc:sldMkLst>
        <pc:graphicFrameChg chg="mod modGraphic">
          <ac:chgData name="Li  Yangshihao" userId="S::s302568@studenti.polito.it::ee48da2e-17a2-4953-b1e7-564eeca1e514" providerId="AD" clId="Web-{3471F2F2-DE3A-F709-1183-6D82AD1DFEC9}" dt="2023-05-09T20:56:48.546" v="27" actId="1076"/>
          <ac:graphicFrameMkLst>
            <pc:docMk/>
            <pc:sldMk cId="2954245266" sldId="355"/>
            <ac:graphicFrameMk id="7" creationId="{7D8A467F-B93F-3591-D4D3-C24F8692036A}"/>
          </ac:graphicFrameMkLst>
        </pc:graphicFrameChg>
      </pc:sldChg>
    </pc:docChg>
  </pc:docChgLst>
  <pc:docChgLst>
    <pc:chgData name="CHEN JINGSI" userId="S::s296135@studenti.polito.it::2c6a6994-749a-46da-a9cf-6c6b6bb4c573" providerId="AD" clId="Web-{0DC5CF93-A47D-4EB0-A33E-F1E011D4EC1C}"/>
    <pc:docChg chg="addSld delSld">
      <pc:chgData name="CHEN JINGSI" userId="S::s296135@studenti.polito.it::2c6a6994-749a-46da-a9cf-6c6b6bb4c573" providerId="AD" clId="Web-{0DC5CF93-A47D-4EB0-A33E-F1E011D4EC1C}" dt="2023-05-18T18:13:22.127" v="1"/>
      <pc:docMkLst>
        <pc:docMk/>
      </pc:docMkLst>
      <pc:sldChg chg="del">
        <pc:chgData name="CHEN JINGSI" userId="S::s296135@studenti.polito.it::2c6a6994-749a-46da-a9cf-6c6b6bb4c573" providerId="AD" clId="Web-{0DC5CF93-A47D-4EB0-A33E-F1E011D4EC1C}" dt="2023-05-18T18:13:22.127" v="1"/>
        <pc:sldMkLst>
          <pc:docMk/>
          <pc:sldMk cId="428395215" sldId="365"/>
        </pc:sldMkLst>
      </pc:sldChg>
      <pc:sldChg chg="add">
        <pc:chgData name="CHEN JINGSI" userId="S::s296135@studenti.polito.it::2c6a6994-749a-46da-a9cf-6c6b6bb4c573" providerId="AD" clId="Web-{0DC5CF93-A47D-4EB0-A33E-F1E011D4EC1C}" dt="2023-05-18T18:13:10.314" v="0"/>
        <pc:sldMkLst>
          <pc:docMk/>
          <pc:sldMk cId="2444861779" sldId="367"/>
        </pc:sldMkLst>
      </pc:sldChg>
    </pc:docChg>
  </pc:docChgLst>
  <pc:docChgLst>
    <pc:chgData name="CHEN JINGSI" userId="S::s296135@studenti.polito.it::2c6a6994-749a-46da-a9cf-6c6b6bb4c573" providerId="AD" clId="Web-{90D5B3DA-E76C-4A81-9A8B-52B34159ED8E}"/>
    <pc:docChg chg="modSld">
      <pc:chgData name="CHEN JINGSI" userId="S::s296135@studenti.polito.it::2c6a6994-749a-46da-a9cf-6c6b6bb4c573" providerId="AD" clId="Web-{90D5B3DA-E76C-4A81-9A8B-52B34159ED8E}" dt="2023-05-09T13:01:15.070" v="25"/>
      <pc:docMkLst>
        <pc:docMk/>
      </pc:docMkLst>
      <pc:sldChg chg="addSp delSp modSp">
        <pc:chgData name="CHEN JINGSI" userId="S::s296135@studenti.polito.it::2c6a6994-749a-46da-a9cf-6c6b6bb4c573" providerId="AD" clId="Web-{90D5B3DA-E76C-4A81-9A8B-52B34159ED8E}" dt="2023-05-09T13:01:15.070" v="25"/>
        <pc:sldMkLst>
          <pc:docMk/>
          <pc:sldMk cId="1904998559" sldId="357"/>
        </pc:sldMkLst>
        <pc:picChg chg="add del mod">
          <ac:chgData name="CHEN JINGSI" userId="S::s296135@studenti.polito.it::2c6a6994-749a-46da-a9cf-6c6b6bb4c573" providerId="AD" clId="Web-{90D5B3DA-E76C-4A81-9A8B-52B34159ED8E}" dt="2023-05-09T12:59:30.173" v="15"/>
          <ac:picMkLst>
            <pc:docMk/>
            <pc:sldMk cId="1904998559" sldId="357"/>
            <ac:picMk id="5" creationId="{EED9C570-9AC7-E8ED-C717-6AB3DC0725CC}"/>
          </ac:picMkLst>
        </pc:picChg>
        <pc:picChg chg="add del mod">
          <ac:chgData name="CHEN JINGSI" userId="S::s296135@studenti.polito.it::2c6a6994-749a-46da-a9cf-6c6b6bb4c573" providerId="AD" clId="Web-{90D5B3DA-E76C-4A81-9A8B-52B34159ED8E}" dt="2023-05-09T13:01:15.070" v="25"/>
          <ac:picMkLst>
            <pc:docMk/>
            <pc:sldMk cId="1904998559" sldId="357"/>
            <ac:picMk id="6" creationId="{326FE1CE-DC41-CC9E-4065-CCFBE05F7D7A}"/>
          </ac:picMkLst>
        </pc:picChg>
        <pc:picChg chg="mod">
          <ac:chgData name="CHEN JINGSI" userId="S::s296135@studenti.polito.it::2c6a6994-749a-46da-a9cf-6c6b6bb4c573" providerId="AD" clId="Web-{90D5B3DA-E76C-4A81-9A8B-52B34159ED8E}" dt="2023-05-09T12:57:07.587" v="9" actId="1076"/>
          <ac:picMkLst>
            <pc:docMk/>
            <pc:sldMk cId="1904998559" sldId="357"/>
            <ac:picMk id="8" creationId="{B628FD73-96D4-5726-7474-514A9A7E53DC}"/>
          </ac:picMkLst>
        </pc:picChg>
        <pc:picChg chg="mod">
          <ac:chgData name="CHEN JINGSI" userId="S::s296135@studenti.polito.it::2c6a6994-749a-46da-a9cf-6c6b6bb4c573" providerId="AD" clId="Web-{90D5B3DA-E76C-4A81-9A8B-52B34159ED8E}" dt="2023-05-09T12:58:46.843" v="14" actId="1076"/>
          <ac:picMkLst>
            <pc:docMk/>
            <pc:sldMk cId="1904998559" sldId="357"/>
            <ac:picMk id="20" creationId="{48CBD229-16E4-FDFF-706B-5E66703AE618}"/>
          </ac:picMkLst>
        </pc:picChg>
      </pc:sldChg>
    </pc:docChg>
  </pc:docChgLst>
  <pc:docChgLst>
    <pc:chgData name="YIN JUN" userId="S::s296134@studenti.polito.it::40f53ba7-6859-4e15-b6a0-4f636ac10741" providerId="AD" clId="Web-{131526D3-22FA-4356-8B98-D80CBFA79F6E}"/>
    <pc:docChg chg="modSld">
      <pc:chgData name="YIN JUN" userId="S::s296134@studenti.polito.it::40f53ba7-6859-4e15-b6a0-4f636ac10741" providerId="AD" clId="Web-{131526D3-22FA-4356-8B98-D80CBFA79F6E}" dt="2023-05-10T08:01:34.856" v="41"/>
      <pc:docMkLst>
        <pc:docMk/>
      </pc:docMkLst>
      <pc:sldChg chg="modSp">
        <pc:chgData name="YIN JUN" userId="S::s296134@studenti.polito.it::40f53ba7-6859-4e15-b6a0-4f636ac10741" providerId="AD" clId="Web-{131526D3-22FA-4356-8B98-D80CBFA79F6E}" dt="2023-05-10T08:01:34.856" v="41"/>
        <pc:sldMkLst>
          <pc:docMk/>
          <pc:sldMk cId="2954245266" sldId="355"/>
        </pc:sldMkLst>
        <pc:graphicFrameChg chg="mod modGraphic">
          <ac:chgData name="YIN JUN" userId="S::s296134@studenti.polito.it::40f53ba7-6859-4e15-b6a0-4f636ac10741" providerId="AD" clId="Web-{131526D3-22FA-4356-8B98-D80CBFA79F6E}" dt="2023-05-10T08:01:34.856" v="41"/>
          <ac:graphicFrameMkLst>
            <pc:docMk/>
            <pc:sldMk cId="2954245266" sldId="355"/>
            <ac:graphicFrameMk id="7" creationId="{7D8A467F-B93F-3591-D4D3-C24F8692036A}"/>
          </ac:graphicFrameMkLst>
        </pc:graphicFrameChg>
      </pc:sldChg>
    </pc:docChg>
  </pc:docChgLst>
  <pc:docChgLst>
    <pc:chgData name="CHEN JINGSI" userId="S::s296135@studenti.polito.it::2c6a6994-749a-46da-a9cf-6c6b6bb4c573" providerId="AD" clId="Web-{B2A09156-5225-459F-8780-2D25B25C9360}"/>
    <pc:docChg chg="modSld">
      <pc:chgData name="CHEN JINGSI" userId="S::s296135@studenti.polito.it::2c6a6994-749a-46da-a9cf-6c6b6bb4c573" providerId="AD" clId="Web-{B2A09156-5225-459F-8780-2D25B25C9360}" dt="2023-05-09T13:02:45.464" v="3" actId="14100"/>
      <pc:docMkLst>
        <pc:docMk/>
      </pc:docMkLst>
      <pc:sldChg chg="addSp modSp">
        <pc:chgData name="CHEN JINGSI" userId="S::s296135@studenti.polito.it::2c6a6994-749a-46da-a9cf-6c6b6bb4c573" providerId="AD" clId="Web-{B2A09156-5225-459F-8780-2D25B25C9360}" dt="2023-05-09T13:02:45.464" v="3" actId="14100"/>
        <pc:sldMkLst>
          <pc:docMk/>
          <pc:sldMk cId="1904998559" sldId="357"/>
        </pc:sldMkLst>
        <pc:picChg chg="add mod">
          <ac:chgData name="CHEN JINGSI" userId="S::s296135@studenti.polito.it::2c6a6994-749a-46da-a9cf-6c6b6bb4c573" providerId="AD" clId="Web-{B2A09156-5225-459F-8780-2D25B25C9360}" dt="2023-05-09T13:02:45.464" v="3" actId="14100"/>
          <ac:picMkLst>
            <pc:docMk/>
            <pc:sldMk cId="1904998559" sldId="357"/>
            <ac:picMk id="5" creationId="{4121424B-A53C-054F-2FD3-327174D22144}"/>
          </ac:picMkLst>
        </pc:picChg>
      </pc:sldChg>
    </pc:docChg>
  </pc:docChgLst>
  <pc:docChgLst>
    <pc:chgData name="Li  Yangshihao" userId="S::s302568@studenti.polito.it::ee48da2e-17a2-4953-b1e7-564eeca1e514" providerId="AD" clId="Web-{BE7BFC32-FBB1-4AF4-918C-B1EAA787B413}"/>
    <pc:docChg chg="modSld">
      <pc:chgData name="Li  Yangshihao" userId="S::s302568@studenti.polito.it::ee48da2e-17a2-4953-b1e7-564eeca1e514" providerId="AD" clId="Web-{BE7BFC32-FBB1-4AF4-918C-B1EAA787B413}" dt="2023-05-09T20:29:31.975" v="555" actId="1076"/>
      <pc:docMkLst>
        <pc:docMk/>
      </pc:docMkLst>
      <pc:sldChg chg="addSp delSp modSp">
        <pc:chgData name="Li  Yangshihao" userId="S::s302568@studenti.polito.it::ee48da2e-17a2-4953-b1e7-564eeca1e514" providerId="AD" clId="Web-{BE7BFC32-FBB1-4AF4-918C-B1EAA787B413}" dt="2023-05-09T20:06:23.319" v="39" actId="1076"/>
        <pc:sldMkLst>
          <pc:docMk/>
          <pc:sldMk cId="126589775" sldId="345"/>
        </pc:sldMkLst>
        <pc:spChg chg="mod">
          <ac:chgData name="Li  Yangshihao" userId="S::s302568@studenti.polito.it::ee48da2e-17a2-4953-b1e7-564eeca1e514" providerId="AD" clId="Web-{BE7BFC32-FBB1-4AF4-918C-B1EAA787B413}" dt="2023-05-09T20:03:56.236" v="20" actId="14100"/>
          <ac:spMkLst>
            <pc:docMk/>
            <pc:sldMk cId="126589775" sldId="345"/>
            <ac:spMk id="7" creationId="{3B86F339-C48E-7335-81B4-1B1FFF81CD19}"/>
          </ac:spMkLst>
        </pc:spChg>
        <pc:picChg chg="add mod">
          <ac:chgData name="Li  Yangshihao" userId="S::s302568@studenti.polito.it::ee48da2e-17a2-4953-b1e7-564eeca1e514" providerId="AD" clId="Web-{BE7BFC32-FBB1-4AF4-918C-B1EAA787B413}" dt="2023-05-09T20:05:35.083" v="27" actId="1076"/>
          <ac:picMkLst>
            <pc:docMk/>
            <pc:sldMk cId="126589775" sldId="345"/>
            <ac:picMk id="3" creationId="{8FFAA7A7-E11F-C850-FEC0-1BAD51904BB2}"/>
          </ac:picMkLst>
        </pc:picChg>
        <pc:picChg chg="add mod">
          <ac:chgData name="Li  Yangshihao" userId="S::s302568@studenti.polito.it::ee48da2e-17a2-4953-b1e7-564eeca1e514" providerId="AD" clId="Web-{BE7BFC32-FBB1-4AF4-918C-B1EAA787B413}" dt="2023-05-09T20:05:50.474" v="31" actId="1076"/>
          <ac:picMkLst>
            <pc:docMk/>
            <pc:sldMk cId="126589775" sldId="345"/>
            <ac:picMk id="5" creationId="{AC7385EA-A399-A8EF-8F9C-776877C82F95}"/>
          </ac:picMkLst>
        </pc:picChg>
        <pc:picChg chg="add mod">
          <ac:chgData name="Li  Yangshihao" userId="S::s302568@studenti.polito.it::ee48da2e-17a2-4953-b1e7-564eeca1e514" providerId="AD" clId="Web-{BE7BFC32-FBB1-4AF4-918C-B1EAA787B413}" dt="2023-05-09T20:06:20.803" v="38" actId="1076"/>
          <ac:picMkLst>
            <pc:docMk/>
            <pc:sldMk cId="126589775" sldId="345"/>
            <ac:picMk id="6" creationId="{CC9420EF-B350-5815-183C-29E246732629}"/>
          </ac:picMkLst>
        </pc:picChg>
        <pc:picChg chg="del">
          <ac:chgData name="Li  Yangshihao" userId="S::s302568@studenti.polito.it::ee48da2e-17a2-4953-b1e7-564eeca1e514" providerId="AD" clId="Web-{BE7BFC32-FBB1-4AF4-918C-B1EAA787B413}" dt="2023-05-09T20:04:58.301" v="21"/>
          <ac:picMkLst>
            <pc:docMk/>
            <pc:sldMk cId="126589775" sldId="345"/>
            <ac:picMk id="9" creationId="{F8BE53EE-9E6C-457C-31D0-6F27458CDB19}"/>
          </ac:picMkLst>
        </pc:picChg>
        <pc:picChg chg="mod">
          <ac:chgData name="Li  Yangshihao" userId="S::s302568@studenti.polito.it::ee48da2e-17a2-4953-b1e7-564eeca1e514" providerId="AD" clId="Web-{BE7BFC32-FBB1-4AF4-918C-B1EAA787B413}" dt="2023-05-09T20:06:23.319" v="39" actId="1076"/>
          <ac:picMkLst>
            <pc:docMk/>
            <pc:sldMk cId="126589775" sldId="345"/>
            <ac:picMk id="10" creationId="{5903794A-3D2D-133F-ABD7-5BBE56C50851}"/>
          </ac:picMkLst>
        </pc:picChg>
      </pc:sldChg>
      <pc:sldChg chg="addSp delSp modSp">
        <pc:chgData name="Li  Yangshihao" userId="S::s302568@studenti.polito.it::ee48da2e-17a2-4953-b1e7-564eeca1e514" providerId="AD" clId="Web-{BE7BFC32-FBB1-4AF4-918C-B1EAA787B413}" dt="2023-05-09T20:29:31.975" v="555" actId="1076"/>
        <pc:sldMkLst>
          <pc:docMk/>
          <pc:sldMk cId="2954245266" sldId="355"/>
        </pc:sldMkLst>
        <pc:graphicFrameChg chg="add del mod modGraphic">
          <ac:chgData name="Li  Yangshihao" userId="S::s302568@studenti.polito.it::ee48da2e-17a2-4953-b1e7-564eeca1e514" providerId="AD" clId="Web-{BE7BFC32-FBB1-4AF4-918C-B1EAA787B413}" dt="2023-05-09T20:09:08.840" v="122"/>
          <ac:graphicFrameMkLst>
            <pc:docMk/>
            <pc:sldMk cId="2954245266" sldId="355"/>
            <ac:graphicFrameMk id="6" creationId="{CDB85DE8-8618-13D0-861E-65A6D0FF7471}"/>
          </ac:graphicFrameMkLst>
        </pc:graphicFrameChg>
        <pc:graphicFrameChg chg="add mod modGraphic">
          <ac:chgData name="Li  Yangshihao" userId="S::s302568@studenti.polito.it::ee48da2e-17a2-4953-b1e7-564eeca1e514" providerId="AD" clId="Web-{BE7BFC32-FBB1-4AF4-918C-B1EAA787B413}" dt="2023-05-09T20:29:31.975" v="555" actId="1076"/>
          <ac:graphicFrameMkLst>
            <pc:docMk/>
            <pc:sldMk cId="2954245266" sldId="355"/>
            <ac:graphicFrameMk id="7" creationId="{7D8A467F-B93F-3591-D4D3-C24F8692036A}"/>
          </ac:graphicFrameMkLst>
        </pc:graphicFrameChg>
        <pc:picChg chg="add del mod">
          <ac:chgData name="Li  Yangshihao" userId="S::s302568@studenti.polito.it::ee48da2e-17a2-4953-b1e7-564eeca1e514" providerId="AD" clId="Web-{BE7BFC32-FBB1-4AF4-918C-B1EAA787B413}" dt="2023-05-09T20:05:55.349" v="32"/>
          <ac:picMkLst>
            <pc:docMk/>
            <pc:sldMk cId="2954245266" sldId="355"/>
            <ac:picMk id="3" creationId="{BB9053E6-376F-2BB4-471D-61B81D54DC1B}"/>
          </ac:picMkLst>
        </pc:picChg>
        <pc:picChg chg="add del mod">
          <ac:chgData name="Li  Yangshihao" userId="S::s302568@studenti.polito.it::ee48da2e-17a2-4953-b1e7-564eeca1e514" providerId="AD" clId="Web-{BE7BFC32-FBB1-4AF4-918C-B1EAA787B413}" dt="2023-05-09T20:05:45.333" v="29"/>
          <ac:picMkLst>
            <pc:docMk/>
            <pc:sldMk cId="2954245266" sldId="355"/>
            <ac:picMk id="5" creationId="{052FACA0-258B-0FF1-6B6E-904C5B7D403D}"/>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F9B84EA-7D68-4D60-9CB1-D50884785D1C}" type="datetimeFigureOut">
              <a:rPr lang="zh-CN" altLang="en-US" smtClean="0"/>
              <a:t>2024/2/2</a:t>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4E0FC9-F1F8-4FAE-9988-3BA365CFD46F}" type="slidenum">
              <a:rPr lang="zh-CN" altLang="en-US" smtClean="0"/>
              <a:t>‹#›</a:t>
            </a:fld>
            <a:endParaRPr lang="zh-CN" altLang="en-US"/>
          </a:p>
        </p:txBody>
      </p:sp>
    </p:spTree>
    <p:extLst>
      <p:ext uri="{BB962C8B-B14F-4D97-AF65-F5344CB8AC3E}">
        <p14:creationId xmlns:p14="http://schemas.microsoft.com/office/powerpoint/2010/main" val="42388873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4/2/2</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40278725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E9E6FDB6-6D2B-46C1-9FA1-D82906A37C3A}" type="slidenum">
              <a:rPr lang="zh-CN" altLang="en-US" smtClean="0"/>
              <a:t>1</a:t>
            </a:fld>
            <a:endParaRPr lang="zh-CN" altLang="en-US"/>
          </a:p>
        </p:txBody>
      </p:sp>
    </p:spTree>
    <p:extLst>
      <p:ext uri="{BB962C8B-B14F-4D97-AF65-F5344CB8AC3E}">
        <p14:creationId xmlns:p14="http://schemas.microsoft.com/office/powerpoint/2010/main" val="30382320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a:t>
            </a:fld>
            <a:endParaRPr lang="zh-CN" altLang="en-US"/>
          </a:p>
        </p:txBody>
      </p:sp>
    </p:spTree>
    <p:extLst>
      <p:ext uri="{BB962C8B-B14F-4D97-AF65-F5344CB8AC3E}">
        <p14:creationId xmlns:p14="http://schemas.microsoft.com/office/powerpoint/2010/main" val="28338596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DB374A-0773-1146-2C30-AD03C3386FC7}"/>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75FB0B69-507C-272D-ABA1-1249A2B072C1}"/>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266DF7B6-8788-1F79-5BFD-4CF00BDD2297}"/>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D3292EA8-66E7-AFC3-35D8-D82BA92E6579}"/>
              </a:ext>
            </a:extLst>
          </p:cNvPr>
          <p:cNvSpPr>
            <a:spLocks noGrp="1"/>
          </p:cNvSpPr>
          <p:nvPr>
            <p:ph type="sldNum" sz="quarter" idx="5"/>
          </p:nvPr>
        </p:nvSpPr>
        <p:spPr/>
        <p:txBody>
          <a:bodyPr/>
          <a:lstStyle/>
          <a:p>
            <a:fld id="{E9E6FDB6-6D2B-46C1-9FA1-D82906A37C3A}" type="slidenum">
              <a:rPr lang="zh-CN" altLang="en-US" smtClean="0"/>
              <a:t>3</a:t>
            </a:fld>
            <a:endParaRPr lang="zh-CN" altLang="en-US"/>
          </a:p>
        </p:txBody>
      </p:sp>
    </p:spTree>
    <p:extLst>
      <p:ext uri="{BB962C8B-B14F-4D97-AF65-F5344CB8AC3E}">
        <p14:creationId xmlns:p14="http://schemas.microsoft.com/office/powerpoint/2010/main" val="17972779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B4CF61-4433-5451-4453-C3A5739EFBE6}"/>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63B69BC-1432-2085-92AC-9502B6E7054D}"/>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E3368220-60B4-AFDE-6D6F-1D1DCDCEE297}"/>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0E347494-D2A9-5193-3A44-61206F4E6010}"/>
              </a:ext>
            </a:extLst>
          </p:cNvPr>
          <p:cNvSpPr>
            <a:spLocks noGrp="1"/>
          </p:cNvSpPr>
          <p:nvPr>
            <p:ph type="sldNum" sz="quarter" idx="5"/>
          </p:nvPr>
        </p:nvSpPr>
        <p:spPr/>
        <p:txBody>
          <a:bodyPr/>
          <a:lstStyle/>
          <a:p>
            <a:fld id="{E9E6FDB6-6D2B-46C1-9FA1-D82906A37C3A}" type="slidenum">
              <a:rPr lang="zh-CN" altLang="en-US" smtClean="0"/>
              <a:t>4</a:t>
            </a:fld>
            <a:endParaRPr lang="zh-CN" altLang="en-US"/>
          </a:p>
        </p:txBody>
      </p:sp>
    </p:spTree>
    <p:extLst>
      <p:ext uri="{BB962C8B-B14F-4D97-AF65-F5344CB8AC3E}">
        <p14:creationId xmlns:p14="http://schemas.microsoft.com/office/powerpoint/2010/main" val="2710599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5901E5-8A87-0E1A-B252-C3683DD2324C}"/>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1FE253AE-6910-98F6-2D73-A5007609F891}"/>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FDD08518-6541-C5C2-5B4A-B129D49E6653}"/>
              </a:ext>
            </a:extLst>
          </p:cNvPr>
          <p:cNvSpPr>
            <a:spLocks noGrp="1"/>
          </p:cNvSpPr>
          <p:nvPr>
            <p:ph type="body" idx="1"/>
          </p:nvPr>
        </p:nvSpPr>
        <p:spPr/>
        <p:txBody>
          <a:bodyPr/>
          <a:lstStyle/>
          <a:p>
            <a:endParaRPr kumimoji="1" lang="zh-CN" altLang="en-US" dirty="0"/>
          </a:p>
        </p:txBody>
      </p:sp>
      <p:sp>
        <p:nvSpPr>
          <p:cNvPr id="4" name="灯片编号占位符 3">
            <a:extLst>
              <a:ext uri="{FF2B5EF4-FFF2-40B4-BE49-F238E27FC236}">
                <a16:creationId xmlns:a16="http://schemas.microsoft.com/office/drawing/2014/main" id="{045A83EC-5B92-79E5-67EC-D396E6E44202}"/>
              </a:ext>
            </a:extLst>
          </p:cNvPr>
          <p:cNvSpPr>
            <a:spLocks noGrp="1"/>
          </p:cNvSpPr>
          <p:nvPr>
            <p:ph type="sldNum" sz="quarter" idx="5"/>
          </p:nvPr>
        </p:nvSpPr>
        <p:spPr/>
        <p:txBody>
          <a:bodyPr/>
          <a:lstStyle/>
          <a:p>
            <a:fld id="{E9E6FDB6-6D2B-46C1-9FA1-D82906A37C3A}" type="slidenum">
              <a:rPr lang="zh-CN" altLang="en-US" smtClean="0"/>
              <a:t>5</a:t>
            </a:fld>
            <a:endParaRPr lang="zh-CN" altLang="en-US"/>
          </a:p>
        </p:txBody>
      </p:sp>
    </p:spTree>
    <p:extLst>
      <p:ext uri="{BB962C8B-B14F-4D97-AF65-F5344CB8AC3E}">
        <p14:creationId xmlns:p14="http://schemas.microsoft.com/office/powerpoint/2010/main" val="227850744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bg>
      <p:bgPr>
        <a:solidFill>
          <a:schemeClr val="bg1"/>
        </a:solidFill>
        <a:effectLst/>
      </p:bgPr>
    </p:bg>
    <p:spTree>
      <p:nvGrpSpPr>
        <p:cNvPr id="1" name=""/>
        <p:cNvGrpSpPr/>
        <p:nvPr/>
      </p:nvGrpSpPr>
      <p:grpSpPr>
        <a:xfrm>
          <a:off x="0" y="0"/>
          <a:ext cx="0" cy="0"/>
          <a:chOff x="0" y="0"/>
          <a:chExt cx="0" cy="0"/>
        </a:xfrm>
      </p:grpSpPr>
      <p:sp>
        <p:nvSpPr>
          <p:cNvPr id="5" name="矩形 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2" name="标题 1"/>
          <p:cNvSpPr>
            <a:spLocks noGrp="1"/>
          </p:cNvSpPr>
          <p:nvPr userDrawn="1">
            <p:ph type="ctrTitle" hasCustomPrompt="1"/>
          </p:nvPr>
        </p:nvSpPr>
        <p:spPr>
          <a:xfrm>
            <a:off x="673101" y="1130300"/>
            <a:ext cx="5844994" cy="1289088"/>
          </a:xfrm>
          <a:effectLst>
            <a:outerShdw blurRad="25400" dist="38100" dir="2700000" algn="tl" rotWithShape="0">
              <a:prstClr val="black">
                <a:alpha val="15000"/>
              </a:prstClr>
            </a:outerShdw>
          </a:effectLst>
        </p:spPr>
        <p:txBody>
          <a:bodyPr anchor="ctr">
            <a:normAutofit/>
          </a:bodyPr>
          <a:lstStyle>
            <a:lvl1pPr algn="l">
              <a:defRPr sz="4000">
                <a:solidFill>
                  <a:schemeClr val="bg1"/>
                </a:solidFill>
              </a:defRPr>
            </a:lvl1pPr>
          </a:lstStyle>
          <a:p>
            <a:r>
              <a:rPr lang="en-US"/>
              <a:t>Click to edit master title style</a:t>
            </a:r>
            <a:endParaRPr lang="zh-CN" altLang="en-US"/>
          </a:p>
        </p:txBody>
      </p:sp>
      <p:sp>
        <p:nvSpPr>
          <p:cNvPr id="9801" name="副标题 2"/>
          <p:cNvSpPr>
            <a:spLocks noGrp="1"/>
          </p:cNvSpPr>
          <p:nvPr userDrawn="1">
            <p:ph type="subTitle" idx="1" hasCustomPrompt="1"/>
          </p:nvPr>
        </p:nvSpPr>
        <p:spPr>
          <a:xfrm>
            <a:off x="673100" y="2463539"/>
            <a:ext cx="5844995" cy="258922"/>
          </a:xfrm>
          <a:effectLst>
            <a:outerShdw blurRad="25400" dist="25400" dir="2700000" algn="tl" rotWithShape="0">
              <a:prstClr val="black">
                <a:alpha val="15000"/>
              </a:prstClr>
            </a:outerShdw>
          </a:effectLst>
        </p:spPr>
        <p:txBody>
          <a:bodyPr anchor="ct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文本占位符 13"/>
          <p:cNvSpPr>
            <a:spLocks noGrp="1"/>
          </p:cNvSpPr>
          <p:nvPr userDrawn="1">
            <p:ph type="body" sz="quarter" idx="10" hasCustomPrompt="1"/>
          </p:nvPr>
        </p:nvSpPr>
        <p:spPr>
          <a:xfrm>
            <a:off x="673100" y="3457766"/>
            <a:ext cx="5844995" cy="25892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3" name="文本占位符 13"/>
          <p:cNvSpPr>
            <a:spLocks noGrp="1"/>
          </p:cNvSpPr>
          <p:nvPr userDrawn="1">
            <p:ph type="body" sz="quarter" idx="11" hasCustomPrompt="1"/>
          </p:nvPr>
        </p:nvSpPr>
        <p:spPr>
          <a:xfrm>
            <a:off x="673101" y="3758927"/>
            <a:ext cx="5844996" cy="29639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date</a:t>
            </a:r>
            <a:endParaRPr lang="zh-CN" altLang="en-US"/>
          </a:p>
        </p:txBody>
      </p:sp>
      <p:sp>
        <p:nvSpPr>
          <p:cNvPr id="72" name="等腰三角形 71"/>
          <p:cNvSpPr/>
          <p:nvPr userDrawn="1"/>
        </p:nvSpPr>
        <p:spPr>
          <a:xfrm>
            <a:off x="800100" y="4372459"/>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73" name="图形 72"/>
          <p:cNvPicPr>
            <a:picLocks noChangeAspect="1"/>
          </p:cNvPicPr>
          <p:nvPr userDrawn="1"/>
        </p:nvPicPr>
        <p:blipFill>
          <a:blip r:embed="rId2"/>
          <a:stretch>
            <a:fillRect/>
          </a:stretch>
        </p:blipFill>
        <p:spPr>
          <a:xfrm>
            <a:off x="5111916" y="1242605"/>
            <a:ext cx="6611357" cy="3415138"/>
          </a:xfrm>
          <a:prstGeom prst="rect">
            <a:avLst/>
          </a:prstGeom>
          <a:effectLst>
            <a:outerShdw blurRad="76200" dist="25400" dir="2700000" algn="tl" rotWithShape="0">
              <a:prstClr val="black">
                <a:alpha val="40000"/>
              </a:prstClr>
            </a:outerShdw>
          </a:effectLst>
        </p:spPr>
      </p:pic>
      <p:pic>
        <p:nvPicPr>
          <p:cNvPr id="74" name="图形 73"/>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44997768-0F3B-4C42-8732-89CAF429E39F}" type="datetime1">
              <a:rPr lang="zh-CN" altLang="en-US" smtClean="0"/>
              <a:t>2024/2/2</a:t>
            </a:fld>
            <a:endParaRPr lang="zh-CN" altLang="en-US"/>
          </a:p>
        </p:txBody>
      </p:sp>
      <p:sp>
        <p:nvSpPr>
          <p:cNvPr id="4" name="页脚占位符 3"/>
          <p:cNvSpPr>
            <a:spLocks noGrp="1"/>
          </p:cNvSpPr>
          <p:nvPr>
            <p:ph type="ftr" sz="quarter" idx="11"/>
          </p:nvPr>
        </p:nvSpPr>
        <p:spPr/>
        <p:txBody>
          <a:bodyPr/>
          <a:lstStyle/>
          <a:p>
            <a:r>
              <a:rPr lang="en-US" altLang="zh-CN"/>
              <a:t>www.islide.cc</a:t>
            </a:r>
            <a:endParaRPr lang="zh-CN" altLang="en-US"/>
          </a:p>
        </p:txBody>
      </p:sp>
      <p:sp>
        <p:nvSpPr>
          <p:cNvPr id="5" name="灯片编号占位符 4"/>
          <p:cNvSpPr>
            <a:spLocks noGrp="1"/>
          </p:cNvSpPr>
          <p:nvPr>
            <p:ph type="sldNum" sz="quarter" idx="12"/>
          </p:nvPr>
        </p:nvSpPr>
        <p:spPr/>
        <p:txBody>
          <a:bodyPr/>
          <a:lstStyle/>
          <a:p>
            <a:fld id="{5DD3DB80-B894-403A-B48E-6FDC1A72010E}" type="slidenum">
              <a:rPr lang="zh-CN" altLang="en-US" smtClean="0"/>
              <a:t>‹#›</a:t>
            </a:fld>
            <a:endParaRPr lang="zh-CN" altLang="en-US"/>
          </a:p>
        </p:txBody>
      </p:sp>
      <p:sp>
        <p:nvSpPr>
          <p:cNvPr id="6" name="标题 5"/>
          <p:cNvSpPr>
            <a:spLocks noGrp="1"/>
          </p:cNvSpPr>
          <p:nvPr>
            <p:ph type="title"/>
          </p:nvPr>
        </p:nvSpPr>
        <p:spPr/>
        <p:txBody>
          <a:bodyPr/>
          <a:lstStyle>
            <a:lvl1pPr>
              <a:defRPr/>
            </a:lvl1pPr>
          </a:lstStyle>
          <a:p>
            <a:r>
              <a:rPr lang="en-US" altLang="zh-CN"/>
              <a:t>Click to edit Master title style</a:t>
            </a:r>
            <a:endParaRPr lang="zh-CN" altLang="en-US"/>
          </a:p>
        </p:txBody>
      </p:sp>
      <p:sp>
        <p:nvSpPr>
          <p:cNvPr id="8" name="内容占位符 7"/>
          <p:cNvSpPr>
            <a:spLocks noGrp="1"/>
          </p:cNvSpPr>
          <p:nvPr>
            <p:ph sz="quarter" idx="13"/>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a:t>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Tree>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userDrawn="1">
  <p:cSld name="仅标题页">
    <p:bg>
      <p:bgPr>
        <a:gradFill>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ltLang="zh-CN"/>
              <a:t>Click to edit Master title style</a:t>
            </a:r>
            <a:endParaRPr lang="en-US"/>
          </a:p>
        </p:txBody>
      </p:sp>
      <p:sp>
        <p:nvSpPr>
          <p:cNvPr id="3" name="Date Placeholder 2"/>
          <p:cNvSpPr>
            <a:spLocks noGrp="1"/>
          </p:cNvSpPr>
          <p:nvPr>
            <p:ph type="dt" sz="half" idx="10"/>
          </p:nvPr>
        </p:nvSpPr>
        <p:spPr/>
        <p:txBody>
          <a:bodyPr/>
          <a:lstStyle/>
          <a:p>
            <a:fld id="{B2D0698E-25F7-2942-821D-B02E8F91024F}" type="datetime1">
              <a:rPr lang="zh-CN" altLang="en-US" smtClean="0"/>
              <a:t>2024/2/2</a:t>
            </a:fld>
            <a:endParaRPr lang="zh-CN" altLang="en-US"/>
          </a:p>
        </p:txBody>
      </p:sp>
      <p:sp>
        <p:nvSpPr>
          <p:cNvPr id="4" name="Footer Placeholder 3"/>
          <p:cNvSpPr>
            <a:spLocks noGrp="1"/>
          </p:cNvSpPr>
          <p:nvPr>
            <p:ph type="ftr" sz="quarter" idx="11"/>
          </p:nvPr>
        </p:nvSpPr>
        <p:spPr/>
        <p:txBody>
          <a:bodyPr/>
          <a:lstStyle/>
          <a:p>
            <a:r>
              <a:rPr lang="en-US" altLang="zh-CN"/>
              <a:t>www.islide.cc</a:t>
            </a:r>
            <a:endParaRPr lang="zh-CN" altLang="en-US"/>
          </a:p>
        </p:txBody>
      </p:sp>
      <p:sp>
        <p:nvSpPr>
          <p:cNvPr id="5" name="Slide Number Placeholder 4"/>
          <p:cNvSpPr>
            <a:spLocks noGrp="1"/>
          </p:cNvSpPr>
          <p:nvPr>
            <p:ph type="sldNum" sz="quarter" idx="12"/>
          </p:nvPr>
        </p:nvSpPr>
        <p:spPr/>
        <p:txBody>
          <a:bodyPr/>
          <a:lstStyle/>
          <a:p>
            <a:fld id="{5DD3DB80-B894-403A-B48E-6FDC1A72010E}" type="slidenum">
              <a:rPr lang="zh-CN" altLang="en-US" smtClean="0"/>
              <a:t>‹#›</a:t>
            </a:fld>
            <a:endParaRPr lang="zh-CN" altLang="en-US"/>
          </a:p>
        </p:txBody>
      </p:sp>
      <p:pic>
        <p:nvPicPr>
          <p:cNvPr id="6" name="图片 5"/>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标题幻灯片">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6" name="图形 15"/>
          <p:cNvPicPr>
            <a:picLocks noChangeAspect="1"/>
          </p:cNvPicPr>
          <p:nvPr userDrawn="1"/>
        </p:nvPicPr>
        <p:blipFill>
          <a:blip r:embed="rId2"/>
          <a:stretch>
            <a:fillRect/>
          </a:stretch>
        </p:blipFill>
        <p:spPr>
          <a:xfrm>
            <a:off x="5111916" y="1219739"/>
            <a:ext cx="6611357" cy="3415138"/>
          </a:xfrm>
          <a:prstGeom prst="rect">
            <a:avLst/>
          </a:prstGeom>
          <a:effectLst>
            <a:outerShdw blurRad="76200" dist="25400" dir="2700000" algn="tl" rotWithShape="0">
              <a:prstClr val="black">
                <a:alpha val="40000"/>
              </a:prstClr>
            </a:outerShdw>
          </a:effectLst>
        </p:spPr>
      </p:pic>
      <p:sp>
        <p:nvSpPr>
          <p:cNvPr id="72" name="等腰三角形 71"/>
          <p:cNvSpPr/>
          <p:nvPr userDrawn="1"/>
        </p:nvSpPr>
        <p:spPr>
          <a:xfrm>
            <a:off x="1181100" y="4387351"/>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占位符 62"/>
          <p:cNvSpPr>
            <a:spLocks noGrp="1"/>
          </p:cNvSpPr>
          <p:nvPr>
            <p:ph type="body" sz="quarter" idx="18" hasCustomPrompt="1"/>
          </p:nvPr>
        </p:nvSpPr>
        <p:spPr>
          <a:xfrm>
            <a:off x="673100" y="3364497"/>
            <a:ext cx="4470400" cy="310871"/>
          </a:xfrm>
        </p:spPr>
        <p:txBody>
          <a:bodyPr vert="horz" lIns="91440" tIns="45720" rIns="91440" bIns="45720" rtlCol="0">
            <a:normAutofit/>
          </a:bodyPr>
          <a:lstStyle>
            <a:lvl1pPr marL="0" indent="0" algn="l">
              <a:buNone/>
              <a:defRPr lang="zh-CN" altLang="en-US" sz="15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a:t>data</a:t>
            </a:r>
          </a:p>
        </p:txBody>
      </p:sp>
      <p:sp>
        <p:nvSpPr>
          <p:cNvPr id="11" name="文本占位符 13"/>
          <p:cNvSpPr>
            <a:spLocks noGrp="1"/>
          </p:cNvSpPr>
          <p:nvPr>
            <p:ph type="body" sz="quarter" idx="10" hasCustomPrompt="1"/>
          </p:nvPr>
        </p:nvSpPr>
        <p:spPr>
          <a:xfrm>
            <a:off x="673100" y="3068226"/>
            <a:ext cx="4470400" cy="296271"/>
          </a:xfrm>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4" name="标题 1"/>
          <p:cNvSpPr>
            <a:spLocks noGrp="1"/>
          </p:cNvSpPr>
          <p:nvPr>
            <p:ph type="ctrTitle" hasCustomPrompt="1"/>
          </p:nvPr>
        </p:nvSpPr>
        <p:spPr>
          <a:xfrm>
            <a:off x="673101" y="1107434"/>
            <a:ext cx="4470400" cy="1632529"/>
          </a:xfrm>
        </p:spPr>
        <p:txBody>
          <a:bodyPr anchor="b">
            <a:normAutofit/>
          </a:bodyPr>
          <a:lstStyle>
            <a:lvl1pPr marL="0" indent="0" algn="l">
              <a:buFont typeface="Arial" panose="020B0604020202020204" pitchFamily="34" charset="0"/>
              <a:buNone/>
              <a:defRPr sz="3600">
                <a:solidFill>
                  <a:schemeClr val="bg1"/>
                </a:solidFill>
              </a:defRPr>
            </a:lvl1pPr>
          </a:lstStyle>
          <a:p>
            <a:r>
              <a:rPr lang="en-US" altLang="zh-CN"/>
              <a:t>Conclusion</a:t>
            </a:r>
            <a:endParaRPr lang="zh-CN" altLang="en-US"/>
          </a:p>
        </p:txBody>
      </p:sp>
      <p:pic>
        <p:nvPicPr>
          <p:cNvPr id="17" name="图形 16"/>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节标题">
    <p:bg>
      <p:bgPr>
        <a:gradFill flip="none">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6" name="标题 5"/>
          <p:cNvSpPr txBox="1"/>
          <p:nvPr userDrawn="1"/>
        </p:nvSpPr>
        <p:spPr>
          <a:xfrm>
            <a:off x="669924" y="1"/>
            <a:ext cx="10850563" cy="1028699"/>
          </a:xfrm>
          <a:prstGeom prst="rect">
            <a:avLst/>
          </a:prstGeom>
        </p:spPr>
        <p:txBody>
          <a:bodyPr vert="horz" lIns="91440" tIns="45720" rIns="91440" bIns="45720" rtlCol="0" anchor="b">
            <a:normAutofit/>
          </a:bodyPr>
          <a:lst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a:lstStyle>
          <a:p>
            <a:endParaRPr lang="zh-CN" altLang="en-US"/>
          </a:p>
        </p:txBody>
      </p:sp>
      <p:pic>
        <p:nvPicPr>
          <p:cNvPr id="4" name="图片 3"/>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bg>
      <p:bgPr>
        <a:solidFill>
          <a:schemeClr val="bg1"/>
        </a:solidFill>
        <a:effectLst/>
      </p:bgPr>
    </p:bg>
    <p:spTree>
      <p:nvGrpSpPr>
        <p:cNvPr id="1" name=""/>
        <p:cNvGrpSpPr/>
        <p:nvPr/>
      </p:nvGrpSpPr>
      <p:grpSpPr>
        <a:xfrm>
          <a:off x="0" y="0"/>
          <a:ext cx="0" cy="0"/>
          <a:chOff x="0" y="0"/>
          <a:chExt cx="0" cy="0"/>
        </a:xfrm>
      </p:grpSpPr>
      <p:sp>
        <p:nvSpPr>
          <p:cNvPr id="5" name="矩形 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2" name="标题 1"/>
          <p:cNvSpPr>
            <a:spLocks noGrp="1"/>
          </p:cNvSpPr>
          <p:nvPr userDrawn="1">
            <p:ph type="ctrTitle" hasCustomPrompt="1"/>
          </p:nvPr>
        </p:nvSpPr>
        <p:spPr>
          <a:xfrm>
            <a:off x="673101" y="1130300"/>
            <a:ext cx="5844994" cy="1289088"/>
          </a:xfrm>
          <a:effectLst>
            <a:outerShdw blurRad="25400" dist="38100" dir="2700000" algn="tl" rotWithShape="0">
              <a:prstClr val="black">
                <a:alpha val="15000"/>
              </a:prstClr>
            </a:outerShdw>
          </a:effectLst>
        </p:spPr>
        <p:txBody>
          <a:bodyPr anchor="ctr">
            <a:normAutofit/>
          </a:bodyPr>
          <a:lstStyle>
            <a:lvl1pPr algn="l">
              <a:defRPr sz="4000">
                <a:solidFill>
                  <a:schemeClr val="bg1"/>
                </a:solidFill>
              </a:defRPr>
            </a:lvl1pPr>
          </a:lstStyle>
          <a:p>
            <a:r>
              <a:rPr lang="en-US"/>
              <a:t>Click to edit master title style</a:t>
            </a:r>
            <a:endParaRPr lang="zh-CN" altLang="en-US"/>
          </a:p>
        </p:txBody>
      </p:sp>
      <p:sp>
        <p:nvSpPr>
          <p:cNvPr id="9801" name="副标题 2"/>
          <p:cNvSpPr>
            <a:spLocks noGrp="1"/>
          </p:cNvSpPr>
          <p:nvPr userDrawn="1">
            <p:ph type="subTitle" idx="1" hasCustomPrompt="1"/>
          </p:nvPr>
        </p:nvSpPr>
        <p:spPr>
          <a:xfrm>
            <a:off x="673100" y="2463539"/>
            <a:ext cx="5844995" cy="258922"/>
          </a:xfrm>
          <a:effectLst>
            <a:outerShdw blurRad="25400" dist="25400" dir="2700000" algn="tl" rotWithShape="0">
              <a:prstClr val="black">
                <a:alpha val="15000"/>
              </a:prstClr>
            </a:outerShdw>
          </a:effectLst>
        </p:spPr>
        <p:txBody>
          <a:bodyPr anchor="ct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文本占位符 13"/>
          <p:cNvSpPr>
            <a:spLocks noGrp="1"/>
          </p:cNvSpPr>
          <p:nvPr userDrawn="1">
            <p:ph type="body" sz="quarter" idx="10" hasCustomPrompt="1"/>
          </p:nvPr>
        </p:nvSpPr>
        <p:spPr>
          <a:xfrm>
            <a:off x="673100" y="3457766"/>
            <a:ext cx="5844995" cy="25892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3" name="文本占位符 13"/>
          <p:cNvSpPr>
            <a:spLocks noGrp="1"/>
          </p:cNvSpPr>
          <p:nvPr userDrawn="1">
            <p:ph type="body" sz="quarter" idx="11" hasCustomPrompt="1"/>
          </p:nvPr>
        </p:nvSpPr>
        <p:spPr>
          <a:xfrm>
            <a:off x="673101" y="3758927"/>
            <a:ext cx="5844996" cy="29639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date</a:t>
            </a:r>
            <a:endParaRPr lang="zh-CN" altLang="en-US"/>
          </a:p>
        </p:txBody>
      </p:sp>
      <p:sp>
        <p:nvSpPr>
          <p:cNvPr id="72" name="等腰三角形 71"/>
          <p:cNvSpPr/>
          <p:nvPr userDrawn="1"/>
        </p:nvSpPr>
        <p:spPr>
          <a:xfrm>
            <a:off x="800100" y="4372459"/>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73" name="图形 72"/>
          <p:cNvPicPr>
            <a:picLocks noChangeAspect="1"/>
          </p:cNvPicPr>
          <p:nvPr userDrawn="1"/>
        </p:nvPicPr>
        <p:blipFill>
          <a:blip r:embed="rId2"/>
          <a:stretch>
            <a:fillRect/>
          </a:stretch>
        </p:blipFill>
        <p:spPr>
          <a:xfrm>
            <a:off x="5111916" y="1242605"/>
            <a:ext cx="6611357" cy="3415138"/>
          </a:xfrm>
          <a:prstGeom prst="rect">
            <a:avLst/>
          </a:prstGeom>
          <a:effectLst>
            <a:outerShdw blurRad="76200" dist="25400" dir="2700000" algn="tl" rotWithShape="0">
              <a:prstClr val="black">
                <a:alpha val="40000"/>
              </a:prstClr>
            </a:outerShdw>
          </a:effectLst>
        </p:spPr>
      </p:pic>
      <p:pic>
        <p:nvPicPr>
          <p:cNvPr id="74" name="图形 73"/>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1905000"/>
            <a:ext cx="12192000" cy="2832100"/>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lvl="0" algn="ctr"/>
            <a:endParaRPr lang="zh-CN" altLang="en-US"/>
          </a:p>
        </p:txBody>
      </p:sp>
      <p:sp>
        <p:nvSpPr>
          <p:cNvPr id="20" name="标题 1"/>
          <p:cNvSpPr>
            <a:spLocks noGrp="1"/>
          </p:cNvSpPr>
          <p:nvPr userDrawn="1">
            <p:ph type="title"/>
          </p:nvPr>
        </p:nvSpPr>
        <p:spPr>
          <a:xfrm>
            <a:off x="669925" y="2533649"/>
            <a:ext cx="10849447" cy="895351"/>
          </a:xfrm>
        </p:spPr>
        <p:txBody>
          <a:bodyPr anchor="b">
            <a:normAutofit/>
          </a:bodyPr>
          <a:lstStyle>
            <a:lvl1pPr algn="l">
              <a:defRPr sz="2400" b="1">
                <a:solidFill>
                  <a:schemeClr val="bg1"/>
                </a:solidFill>
              </a:defRPr>
            </a:lvl1pPr>
          </a:lstStyle>
          <a:p>
            <a:r>
              <a:rPr lang="en-US"/>
              <a:t>Click to edit Master title style</a:t>
            </a:r>
            <a:endParaRPr lang="zh-CN" altLang="en-US"/>
          </a:p>
        </p:txBody>
      </p:sp>
      <p:sp>
        <p:nvSpPr>
          <p:cNvPr id="21" name="文本占位符 2"/>
          <p:cNvSpPr>
            <a:spLocks noGrp="1"/>
          </p:cNvSpPr>
          <p:nvPr userDrawn="1">
            <p:ph type="body" idx="1"/>
          </p:nvPr>
        </p:nvSpPr>
        <p:spPr>
          <a:xfrm>
            <a:off x="671041" y="3429000"/>
            <a:ext cx="10849447" cy="1243895"/>
          </a:xfrm>
        </p:spPr>
        <p:txBody>
          <a:bodyPr anchor="t">
            <a:normAutofit/>
          </a:bodyPr>
          <a:lstStyle>
            <a:lvl1pPr marL="0" indent="0" algn="l">
              <a:lnSpc>
                <a:spcPct val="100000"/>
              </a:lnSpc>
              <a:buNone/>
              <a:defRPr sz="11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16" name="图形 15"/>
          <p:cNvPicPr>
            <a:picLocks noChangeAspect="1"/>
          </p:cNvPicPr>
          <p:nvPr userDrawn="1"/>
        </p:nvPicPr>
        <p:blipFill>
          <a:blip r:embed="rId2"/>
          <a:stretch>
            <a:fillRect/>
          </a:stretch>
        </p:blipFill>
        <p:spPr>
          <a:xfrm>
            <a:off x="6094648" y="2035634"/>
            <a:ext cx="4852573" cy="2506627"/>
          </a:xfrm>
          <a:prstGeom prst="rect">
            <a:avLst/>
          </a:prstGeom>
          <a:effectLst>
            <a:outerShdw blurRad="76200" dist="25400" dir="2700000" algn="tl" rotWithShape="0">
              <a:prstClr val="black">
                <a:alpha val="40000"/>
              </a:prstClr>
            </a:outerShdw>
          </a:effectLst>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6489D9C7-5DC6-4263-87FF-7C99F6FB63C3}" type="datetime1">
              <a:rPr lang="zh-CN" altLang="en-US" smtClean="0"/>
              <a:t>2024/2/2</a:t>
            </a:fld>
            <a:endParaRPr lang="zh-CN" altLang="en-US"/>
          </a:p>
        </p:txBody>
      </p:sp>
      <p:sp>
        <p:nvSpPr>
          <p:cNvPr id="4" name="页脚占位符 3"/>
          <p:cNvSpPr>
            <a:spLocks noGrp="1"/>
          </p:cNvSpPr>
          <p:nvPr>
            <p:ph type="ftr" sz="quarter" idx="11"/>
          </p:nvPr>
        </p:nvSpPr>
        <p:spPr/>
        <p:txBody>
          <a:bodyPr/>
          <a:lstStyle/>
          <a:p>
            <a:r>
              <a:rPr lang="en-US" altLang="zh-CN"/>
              <a:t>www.islide.cc</a:t>
            </a:r>
            <a:endParaRPr lang="zh-CN" altLang="en-US"/>
          </a:p>
        </p:txBody>
      </p:sp>
      <p:sp>
        <p:nvSpPr>
          <p:cNvPr id="5" name="灯片编号占位符 4"/>
          <p:cNvSpPr>
            <a:spLocks noGrp="1"/>
          </p:cNvSpPr>
          <p:nvPr>
            <p:ph type="sldNum" sz="quarter" idx="12"/>
          </p:nvPr>
        </p:nvSpPr>
        <p:spPr/>
        <p:txBody>
          <a:bodyPr/>
          <a:lstStyle/>
          <a:p>
            <a:fld id="{5DD3DB80-B894-403A-B48E-6FDC1A72010E}" type="slidenum">
              <a:rPr lang="zh-CN" altLang="en-US" smtClean="0"/>
              <a:t>‹#›</a:t>
            </a:fld>
            <a:endParaRPr lang="zh-CN" altLang="en-US"/>
          </a:p>
        </p:txBody>
      </p:sp>
      <p:sp>
        <p:nvSpPr>
          <p:cNvPr id="6" name="标题 5"/>
          <p:cNvSpPr>
            <a:spLocks noGrp="1"/>
          </p:cNvSpPr>
          <p:nvPr>
            <p:ph type="title"/>
          </p:nvPr>
        </p:nvSpPr>
        <p:spPr/>
        <p:txBody>
          <a:bodyPr/>
          <a:lstStyle>
            <a:lvl1pPr>
              <a:defRPr/>
            </a:lvl1pPr>
          </a:lstStyle>
          <a:p>
            <a:r>
              <a:rPr lang="en-US" altLang="zh-CN"/>
              <a:t>Click to edit Master title style</a:t>
            </a:r>
            <a:endParaRPr lang="zh-CN" altLang="en-US"/>
          </a:p>
        </p:txBody>
      </p:sp>
      <p:sp>
        <p:nvSpPr>
          <p:cNvPr id="8" name="内容占位符 7"/>
          <p:cNvSpPr>
            <a:spLocks noGrp="1"/>
          </p:cNvSpPr>
          <p:nvPr>
            <p:ph sz="quarter" idx="13"/>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a:t>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Tree>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userDrawn="1">
  <p:cSld name="仅标题页">
    <p:bg>
      <p:bgPr>
        <a:gradFill>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ltLang="zh-CN"/>
              <a:t>Click to edit Master title style</a:t>
            </a:r>
            <a:endParaRPr lang="en-US"/>
          </a:p>
        </p:txBody>
      </p:sp>
      <p:sp>
        <p:nvSpPr>
          <p:cNvPr id="3" name="Date Placeholder 2"/>
          <p:cNvSpPr>
            <a:spLocks noGrp="1"/>
          </p:cNvSpPr>
          <p:nvPr>
            <p:ph type="dt" sz="half" idx="10"/>
          </p:nvPr>
        </p:nvSpPr>
        <p:spPr/>
        <p:txBody>
          <a:bodyPr/>
          <a:lstStyle/>
          <a:p>
            <a:fld id="{6489D9C7-5DC6-4263-87FF-7C99F6FB63C3}" type="datetime1">
              <a:rPr lang="zh-CN" altLang="en-US" smtClean="0"/>
              <a:t>2024/2/2</a:t>
            </a:fld>
            <a:endParaRPr lang="zh-CN" altLang="en-US"/>
          </a:p>
        </p:txBody>
      </p:sp>
      <p:sp>
        <p:nvSpPr>
          <p:cNvPr id="4" name="Footer Placeholder 3"/>
          <p:cNvSpPr>
            <a:spLocks noGrp="1"/>
          </p:cNvSpPr>
          <p:nvPr>
            <p:ph type="ftr" sz="quarter" idx="11"/>
          </p:nvPr>
        </p:nvSpPr>
        <p:spPr/>
        <p:txBody>
          <a:bodyPr/>
          <a:lstStyle/>
          <a:p>
            <a:r>
              <a:rPr lang="en-US" altLang="zh-CN"/>
              <a:t>www.islide.cc</a:t>
            </a:r>
            <a:endParaRPr lang="zh-CN" altLang="en-US"/>
          </a:p>
        </p:txBody>
      </p:sp>
      <p:sp>
        <p:nvSpPr>
          <p:cNvPr id="5" name="Slide Number Placeholder 4"/>
          <p:cNvSpPr>
            <a:spLocks noGrp="1"/>
          </p:cNvSpPr>
          <p:nvPr>
            <p:ph type="sldNum" sz="quarter" idx="12"/>
          </p:nvPr>
        </p:nvSpPr>
        <p:spPr/>
        <p:txBody>
          <a:bodyPr/>
          <a:lstStyle/>
          <a:p>
            <a:fld id="{5DD3DB80-B894-403A-B48E-6FDC1A72010E}" type="slidenum">
              <a:rPr lang="zh-CN" altLang="en-US" smtClean="0"/>
              <a:t>‹#›</a:t>
            </a:fld>
            <a:endParaRPr lang="zh-CN" altLang="en-US"/>
          </a:p>
        </p:txBody>
      </p:sp>
      <p:pic>
        <p:nvPicPr>
          <p:cNvPr id="6" name="图片 5"/>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1905000"/>
            <a:ext cx="12192000" cy="2832100"/>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lvl="0" algn="ctr"/>
            <a:endParaRPr lang="zh-CN" altLang="en-US"/>
          </a:p>
        </p:txBody>
      </p:sp>
      <p:sp>
        <p:nvSpPr>
          <p:cNvPr id="20" name="标题 1"/>
          <p:cNvSpPr>
            <a:spLocks noGrp="1"/>
          </p:cNvSpPr>
          <p:nvPr userDrawn="1">
            <p:ph type="title"/>
          </p:nvPr>
        </p:nvSpPr>
        <p:spPr>
          <a:xfrm>
            <a:off x="669925" y="2533649"/>
            <a:ext cx="10849447" cy="895351"/>
          </a:xfrm>
        </p:spPr>
        <p:txBody>
          <a:bodyPr anchor="b">
            <a:normAutofit/>
          </a:bodyPr>
          <a:lstStyle>
            <a:lvl1pPr algn="l">
              <a:defRPr sz="2400" b="1">
                <a:solidFill>
                  <a:schemeClr val="bg1"/>
                </a:solidFill>
              </a:defRPr>
            </a:lvl1pPr>
          </a:lstStyle>
          <a:p>
            <a:r>
              <a:rPr lang="en-US"/>
              <a:t>Click to edit Master title style</a:t>
            </a:r>
            <a:endParaRPr lang="zh-CN" altLang="en-US"/>
          </a:p>
        </p:txBody>
      </p:sp>
      <p:sp>
        <p:nvSpPr>
          <p:cNvPr id="21" name="文本占位符 2"/>
          <p:cNvSpPr>
            <a:spLocks noGrp="1"/>
          </p:cNvSpPr>
          <p:nvPr userDrawn="1">
            <p:ph type="body" idx="1"/>
          </p:nvPr>
        </p:nvSpPr>
        <p:spPr>
          <a:xfrm>
            <a:off x="671041" y="3429000"/>
            <a:ext cx="10849447" cy="1243895"/>
          </a:xfrm>
        </p:spPr>
        <p:txBody>
          <a:bodyPr anchor="t">
            <a:normAutofit/>
          </a:bodyPr>
          <a:lstStyle>
            <a:lvl1pPr marL="0" indent="0" algn="l">
              <a:lnSpc>
                <a:spcPct val="100000"/>
              </a:lnSpc>
              <a:buNone/>
              <a:defRPr sz="11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16" name="图形 15"/>
          <p:cNvPicPr>
            <a:picLocks noChangeAspect="1"/>
          </p:cNvPicPr>
          <p:nvPr userDrawn="1"/>
        </p:nvPicPr>
        <p:blipFill>
          <a:blip r:embed="rId2"/>
          <a:stretch>
            <a:fillRect/>
          </a:stretch>
        </p:blipFill>
        <p:spPr>
          <a:xfrm>
            <a:off x="6094648" y="2035634"/>
            <a:ext cx="4852573" cy="2506627"/>
          </a:xfrm>
          <a:prstGeom prst="rect">
            <a:avLst/>
          </a:prstGeom>
          <a:effectLst>
            <a:outerShdw blurRad="76200" dist="25400" dir="2700000" algn="tl" rotWithShape="0">
              <a:prstClr val="black">
                <a:alpha val="40000"/>
              </a:prstClr>
            </a:outerShdw>
          </a:effectLst>
        </p:spPr>
      </p:pic>
    </p:spTree>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标题幻灯片">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6" name="图形 15"/>
          <p:cNvPicPr>
            <a:picLocks noChangeAspect="1"/>
          </p:cNvPicPr>
          <p:nvPr userDrawn="1"/>
        </p:nvPicPr>
        <p:blipFill>
          <a:blip r:embed="rId2"/>
          <a:stretch>
            <a:fillRect/>
          </a:stretch>
        </p:blipFill>
        <p:spPr>
          <a:xfrm>
            <a:off x="5111916" y="1219739"/>
            <a:ext cx="6611357" cy="3415138"/>
          </a:xfrm>
          <a:prstGeom prst="rect">
            <a:avLst/>
          </a:prstGeom>
          <a:effectLst>
            <a:outerShdw blurRad="76200" dist="25400" dir="2700000" algn="tl" rotWithShape="0">
              <a:prstClr val="black">
                <a:alpha val="40000"/>
              </a:prstClr>
            </a:outerShdw>
          </a:effectLst>
        </p:spPr>
      </p:pic>
      <p:sp>
        <p:nvSpPr>
          <p:cNvPr id="72" name="等腰三角形 71"/>
          <p:cNvSpPr/>
          <p:nvPr userDrawn="1"/>
        </p:nvSpPr>
        <p:spPr>
          <a:xfrm>
            <a:off x="1181100" y="4387351"/>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占位符 62"/>
          <p:cNvSpPr>
            <a:spLocks noGrp="1"/>
          </p:cNvSpPr>
          <p:nvPr>
            <p:ph type="body" sz="quarter" idx="18" hasCustomPrompt="1"/>
          </p:nvPr>
        </p:nvSpPr>
        <p:spPr>
          <a:xfrm>
            <a:off x="673100" y="3364497"/>
            <a:ext cx="4470400" cy="310871"/>
          </a:xfrm>
        </p:spPr>
        <p:txBody>
          <a:bodyPr vert="horz" lIns="91440" tIns="45720" rIns="91440" bIns="45720" rtlCol="0">
            <a:normAutofit/>
          </a:bodyPr>
          <a:lstStyle>
            <a:lvl1pPr marL="0" indent="0" algn="l">
              <a:buNone/>
              <a:defRPr lang="zh-CN" altLang="en-US" sz="15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a:t>data</a:t>
            </a:r>
          </a:p>
        </p:txBody>
      </p:sp>
      <p:sp>
        <p:nvSpPr>
          <p:cNvPr id="11" name="文本占位符 13"/>
          <p:cNvSpPr>
            <a:spLocks noGrp="1"/>
          </p:cNvSpPr>
          <p:nvPr>
            <p:ph type="body" sz="quarter" idx="10" hasCustomPrompt="1"/>
          </p:nvPr>
        </p:nvSpPr>
        <p:spPr>
          <a:xfrm>
            <a:off x="673100" y="3068226"/>
            <a:ext cx="4470400" cy="296271"/>
          </a:xfrm>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4" name="标题 1"/>
          <p:cNvSpPr>
            <a:spLocks noGrp="1"/>
          </p:cNvSpPr>
          <p:nvPr>
            <p:ph type="ctrTitle" hasCustomPrompt="1"/>
          </p:nvPr>
        </p:nvSpPr>
        <p:spPr>
          <a:xfrm>
            <a:off x="673101" y="1107434"/>
            <a:ext cx="4470400" cy="1632529"/>
          </a:xfrm>
        </p:spPr>
        <p:txBody>
          <a:bodyPr anchor="b">
            <a:normAutofit/>
          </a:bodyPr>
          <a:lstStyle>
            <a:lvl1pPr marL="0" indent="0" algn="l">
              <a:buFont typeface="Arial" panose="020B0604020202020204" pitchFamily="34" charset="0"/>
              <a:buNone/>
              <a:defRPr sz="3600">
                <a:solidFill>
                  <a:schemeClr val="bg1"/>
                </a:solidFill>
              </a:defRPr>
            </a:lvl1pPr>
          </a:lstStyle>
          <a:p>
            <a:r>
              <a:rPr lang="en-US" altLang="zh-CN"/>
              <a:t>Conclusion</a:t>
            </a:r>
            <a:endParaRPr lang="zh-CN" altLang="en-US"/>
          </a:p>
        </p:txBody>
      </p:sp>
      <p:pic>
        <p:nvPicPr>
          <p:cNvPr id="17" name="图形 16"/>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_节标题">
    <p:bg>
      <p:bgPr>
        <a:gradFill flip="none">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6" name="标题 5"/>
          <p:cNvSpPr txBox="1"/>
          <p:nvPr userDrawn="1"/>
        </p:nvSpPr>
        <p:spPr>
          <a:xfrm>
            <a:off x="669924" y="1"/>
            <a:ext cx="10850563" cy="1028699"/>
          </a:xfrm>
          <a:prstGeom prst="rect">
            <a:avLst/>
          </a:prstGeom>
        </p:spPr>
        <p:txBody>
          <a:bodyPr vert="horz" lIns="91440" tIns="45720" rIns="91440" bIns="45720" rtlCol="0" anchor="b">
            <a:normAutofit/>
          </a:bodyPr>
          <a:lst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a:lstStyle>
          <a:p>
            <a:endParaRPr lang="zh-CN" altLang="en-US"/>
          </a:p>
        </p:txBody>
      </p:sp>
      <p:pic>
        <p:nvPicPr>
          <p:cNvPr id="4" name="图片 3"/>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44997768-0F3B-4C42-8732-89CAF429E39F}" type="datetime1">
              <a:rPr lang="zh-CN" altLang="en-US" smtClean="0"/>
              <a:t>2024/2/2</a:t>
            </a:fld>
            <a:endParaRPr lang="zh-CN" altLang="en-US"/>
          </a:p>
        </p:txBody>
      </p:sp>
      <p:sp>
        <p:nvSpPr>
          <p:cNvPr id="4" name="页脚占位符 3"/>
          <p:cNvSpPr>
            <a:spLocks noGrp="1"/>
          </p:cNvSpPr>
          <p:nvPr>
            <p:ph type="ftr" sz="quarter" idx="11"/>
          </p:nvPr>
        </p:nvSpPr>
        <p:spPr/>
        <p:txBody>
          <a:bodyPr/>
          <a:lstStyle/>
          <a:p>
            <a:r>
              <a:rPr lang="en-US" altLang="zh-CN"/>
              <a:t>www.islide.cc</a:t>
            </a:r>
            <a:endParaRPr lang="zh-CN" altLang="en-US"/>
          </a:p>
        </p:txBody>
      </p:sp>
      <p:sp>
        <p:nvSpPr>
          <p:cNvPr id="5" name="灯片编号占位符 4"/>
          <p:cNvSpPr>
            <a:spLocks noGrp="1"/>
          </p:cNvSpPr>
          <p:nvPr>
            <p:ph type="sldNum" sz="quarter" idx="12"/>
          </p:nvPr>
        </p:nvSpPr>
        <p:spPr/>
        <p:txBody>
          <a:bodyPr/>
          <a:lstStyle/>
          <a:p>
            <a:fld id="{5DD3DB80-B894-403A-B48E-6FDC1A72010E}" type="slidenum">
              <a:rPr lang="zh-CN" altLang="en-US" smtClean="0"/>
              <a:t>‹#›</a:t>
            </a:fld>
            <a:endParaRPr lang="zh-CN" altLang="en-US"/>
          </a:p>
        </p:txBody>
      </p:sp>
      <p:sp>
        <p:nvSpPr>
          <p:cNvPr id="6" name="标题 5"/>
          <p:cNvSpPr>
            <a:spLocks noGrp="1"/>
          </p:cNvSpPr>
          <p:nvPr>
            <p:ph type="title"/>
          </p:nvPr>
        </p:nvSpPr>
        <p:spPr/>
        <p:txBody>
          <a:bodyPr/>
          <a:lstStyle>
            <a:lvl1pPr>
              <a:defRPr/>
            </a:lvl1pPr>
          </a:lstStyle>
          <a:p>
            <a:r>
              <a:rPr lang="en-US" altLang="zh-CN"/>
              <a:t>Click to edit Master title style</a:t>
            </a:r>
            <a:endParaRPr lang="zh-CN" altLang="en-US"/>
          </a:p>
        </p:txBody>
      </p:sp>
      <p:sp>
        <p:nvSpPr>
          <p:cNvPr id="8" name="内容占位符 7"/>
          <p:cNvSpPr>
            <a:spLocks noGrp="1"/>
          </p:cNvSpPr>
          <p:nvPr>
            <p:ph sz="quarter" idx="13"/>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a:t>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bg>
      <p:bgPr>
        <a:gradFill>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ltLang="zh-CN"/>
              <a:t>Click to edit Master title style</a:t>
            </a:r>
            <a:endParaRPr lang="en-US"/>
          </a:p>
        </p:txBody>
      </p:sp>
      <p:sp>
        <p:nvSpPr>
          <p:cNvPr id="3" name="Date Placeholder 2"/>
          <p:cNvSpPr>
            <a:spLocks noGrp="1"/>
          </p:cNvSpPr>
          <p:nvPr>
            <p:ph type="dt" sz="half" idx="10"/>
          </p:nvPr>
        </p:nvSpPr>
        <p:spPr/>
        <p:txBody>
          <a:bodyPr/>
          <a:lstStyle/>
          <a:p>
            <a:fld id="{B2D0698E-25F7-2942-821D-B02E8F91024F}" type="datetime1">
              <a:rPr lang="zh-CN" altLang="en-US" smtClean="0"/>
              <a:t>2024/2/2</a:t>
            </a:fld>
            <a:endParaRPr lang="zh-CN" altLang="en-US"/>
          </a:p>
        </p:txBody>
      </p:sp>
      <p:sp>
        <p:nvSpPr>
          <p:cNvPr id="4" name="Footer Placeholder 3"/>
          <p:cNvSpPr>
            <a:spLocks noGrp="1"/>
          </p:cNvSpPr>
          <p:nvPr>
            <p:ph type="ftr" sz="quarter" idx="11"/>
          </p:nvPr>
        </p:nvSpPr>
        <p:spPr/>
        <p:txBody>
          <a:bodyPr/>
          <a:lstStyle/>
          <a:p>
            <a:r>
              <a:rPr lang="en-US" altLang="zh-CN"/>
              <a:t>www.islide.cc</a:t>
            </a:r>
            <a:endParaRPr lang="zh-CN" altLang="en-US"/>
          </a:p>
        </p:txBody>
      </p:sp>
      <p:sp>
        <p:nvSpPr>
          <p:cNvPr id="5" name="Slide Number Placeholder 4"/>
          <p:cNvSpPr>
            <a:spLocks noGrp="1"/>
          </p:cNvSpPr>
          <p:nvPr>
            <p:ph type="sldNum" sz="quarter" idx="12"/>
          </p:nvPr>
        </p:nvSpPr>
        <p:spPr/>
        <p:txBody>
          <a:bodyPr/>
          <a:lstStyle/>
          <a:p>
            <a:fld id="{5DD3DB80-B894-403A-B48E-6FDC1A72010E}" type="slidenum">
              <a:rPr lang="zh-CN" altLang="en-US" smtClean="0"/>
              <a:t>‹#›</a:t>
            </a:fld>
            <a:endParaRPr lang="zh-CN" altLang="en-US"/>
          </a:p>
        </p:txBody>
      </p:sp>
      <p:pic>
        <p:nvPicPr>
          <p:cNvPr id="6" name="图片 5"/>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标题幻灯片">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6" name="图形 15"/>
          <p:cNvPicPr>
            <a:picLocks noChangeAspect="1"/>
          </p:cNvPicPr>
          <p:nvPr userDrawn="1"/>
        </p:nvPicPr>
        <p:blipFill>
          <a:blip r:embed="rId2"/>
          <a:stretch>
            <a:fillRect/>
          </a:stretch>
        </p:blipFill>
        <p:spPr>
          <a:xfrm>
            <a:off x="5111916" y="1219739"/>
            <a:ext cx="6611357" cy="3415138"/>
          </a:xfrm>
          <a:prstGeom prst="rect">
            <a:avLst/>
          </a:prstGeom>
          <a:effectLst>
            <a:outerShdw blurRad="76200" dist="25400" dir="2700000" algn="tl" rotWithShape="0">
              <a:prstClr val="black">
                <a:alpha val="40000"/>
              </a:prstClr>
            </a:outerShdw>
          </a:effectLst>
        </p:spPr>
      </p:pic>
      <p:sp>
        <p:nvSpPr>
          <p:cNvPr id="72" name="等腰三角形 71"/>
          <p:cNvSpPr/>
          <p:nvPr userDrawn="1"/>
        </p:nvSpPr>
        <p:spPr>
          <a:xfrm>
            <a:off x="1181100" y="4387351"/>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占位符 62"/>
          <p:cNvSpPr>
            <a:spLocks noGrp="1"/>
          </p:cNvSpPr>
          <p:nvPr>
            <p:ph type="body" sz="quarter" idx="18" hasCustomPrompt="1"/>
          </p:nvPr>
        </p:nvSpPr>
        <p:spPr>
          <a:xfrm>
            <a:off x="673100" y="3364497"/>
            <a:ext cx="4470400" cy="310871"/>
          </a:xfrm>
        </p:spPr>
        <p:txBody>
          <a:bodyPr vert="horz" lIns="91440" tIns="45720" rIns="91440" bIns="45720" rtlCol="0">
            <a:normAutofit/>
          </a:bodyPr>
          <a:lstStyle>
            <a:lvl1pPr marL="0" indent="0" algn="l">
              <a:buNone/>
              <a:defRPr lang="zh-CN" altLang="en-US" sz="15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a:t>data</a:t>
            </a:r>
          </a:p>
        </p:txBody>
      </p:sp>
      <p:sp>
        <p:nvSpPr>
          <p:cNvPr id="11" name="文本占位符 13"/>
          <p:cNvSpPr>
            <a:spLocks noGrp="1"/>
          </p:cNvSpPr>
          <p:nvPr>
            <p:ph type="body" sz="quarter" idx="10" hasCustomPrompt="1"/>
          </p:nvPr>
        </p:nvSpPr>
        <p:spPr>
          <a:xfrm>
            <a:off x="673100" y="3068226"/>
            <a:ext cx="4470400" cy="296271"/>
          </a:xfrm>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4" name="标题 1"/>
          <p:cNvSpPr>
            <a:spLocks noGrp="1"/>
          </p:cNvSpPr>
          <p:nvPr>
            <p:ph type="ctrTitle" hasCustomPrompt="1"/>
          </p:nvPr>
        </p:nvSpPr>
        <p:spPr>
          <a:xfrm>
            <a:off x="673101" y="1107434"/>
            <a:ext cx="4470400" cy="1632529"/>
          </a:xfrm>
        </p:spPr>
        <p:txBody>
          <a:bodyPr anchor="b">
            <a:normAutofit/>
          </a:bodyPr>
          <a:lstStyle>
            <a:lvl1pPr marL="0" indent="0" algn="l">
              <a:buFont typeface="Arial" panose="020B0604020202020204" pitchFamily="34" charset="0"/>
              <a:buNone/>
              <a:defRPr sz="3600">
                <a:solidFill>
                  <a:schemeClr val="bg1"/>
                </a:solidFill>
              </a:defRPr>
            </a:lvl1pPr>
          </a:lstStyle>
          <a:p>
            <a:r>
              <a:rPr lang="en-US" altLang="zh-CN"/>
              <a:t>Conclusion</a:t>
            </a:r>
            <a:endParaRPr lang="zh-CN" altLang="en-US"/>
          </a:p>
        </p:txBody>
      </p:sp>
      <p:pic>
        <p:nvPicPr>
          <p:cNvPr id="17" name="图形 16"/>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节标题">
    <p:bg>
      <p:bgPr>
        <a:gradFill flip="none">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6" name="标题 5"/>
          <p:cNvSpPr txBox="1"/>
          <p:nvPr userDrawn="1"/>
        </p:nvSpPr>
        <p:spPr>
          <a:xfrm>
            <a:off x="669924" y="1"/>
            <a:ext cx="10850563" cy="1028699"/>
          </a:xfrm>
          <a:prstGeom prst="rect">
            <a:avLst/>
          </a:prstGeom>
        </p:spPr>
        <p:txBody>
          <a:bodyPr vert="horz" lIns="91440" tIns="45720" rIns="91440" bIns="45720" rtlCol="0" anchor="b">
            <a:normAutofit/>
          </a:bodyPr>
          <a:lst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a:lstStyle>
          <a:p>
            <a:endParaRPr lang="zh-CN" altLang="en-US"/>
          </a:p>
        </p:txBody>
      </p:sp>
      <p:pic>
        <p:nvPicPr>
          <p:cNvPr id="4" name="图片 3"/>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bg>
      <p:bgPr>
        <a:solidFill>
          <a:schemeClr val="bg1"/>
        </a:solidFill>
        <a:effectLst/>
      </p:bgPr>
    </p:bg>
    <p:spTree>
      <p:nvGrpSpPr>
        <p:cNvPr id="1" name=""/>
        <p:cNvGrpSpPr/>
        <p:nvPr/>
      </p:nvGrpSpPr>
      <p:grpSpPr>
        <a:xfrm>
          <a:off x="0" y="0"/>
          <a:ext cx="0" cy="0"/>
          <a:chOff x="0" y="0"/>
          <a:chExt cx="0" cy="0"/>
        </a:xfrm>
      </p:grpSpPr>
      <p:sp>
        <p:nvSpPr>
          <p:cNvPr id="5" name="矩形 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2" name="标题 1"/>
          <p:cNvSpPr>
            <a:spLocks noGrp="1"/>
          </p:cNvSpPr>
          <p:nvPr userDrawn="1">
            <p:ph type="ctrTitle" hasCustomPrompt="1"/>
          </p:nvPr>
        </p:nvSpPr>
        <p:spPr>
          <a:xfrm>
            <a:off x="673101" y="1130300"/>
            <a:ext cx="5844994" cy="1289088"/>
          </a:xfrm>
          <a:effectLst>
            <a:outerShdw blurRad="25400" dist="38100" dir="2700000" algn="tl" rotWithShape="0">
              <a:prstClr val="black">
                <a:alpha val="15000"/>
              </a:prstClr>
            </a:outerShdw>
          </a:effectLst>
        </p:spPr>
        <p:txBody>
          <a:bodyPr anchor="ctr">
            <a:normAutofit/>
          </a:bodyPr>
          <a:lstStyle>
            <a:lvl1pPr algn="l">
              <a:defRPr sz="4000">
                <a:solidFill>
                  <a:schemeClr val="bg1"/>
                </a:solidFill>
              </a:defRPr>
            </a:lvl1pPr>
          </a:lstStyle>
          <a:p>
            <a:r>
              <a:rPr lang="en-US"/>
              <a:t>Click to edit master title style</a:t>
            </a:r>
            <a:endParaRPr lang="zh-CN" altLang="en-US"/>
          </a:p>
        </p:txBody>
      </p:sp>
      <p:sp>
        <p:nvSpPr>
          <p:cNvPr id="9801" name="副标题 2"/>
          <p:cNvSpPr>
            <a:spLocks noGrp="1"/>
          </p:cNvSpPr>
          <p:nvPr userDrawn="1">
            <p:ph type="subTitle" idx="1" hasCustomPrompt="1"/>
          </p:nvPr>
        </p:nvSpPr>
        <p:spPr>
          <a:xfrm>
            <a:off x="673100" y="2463539"/>
            <a:ext cx="5844995" cy="258922"/>
          </a:xfrm>
          <a:effectLst>
            <a:outerShdw blurRad="25400" dist="25400" dir="2700000" algn="tl" rotWithShape="0">
              <a:prstClr val="black">
                <a:alpha val="15000"/>
              </a:prstClr>
            </a:outerShdw>
          </a:effectLst>
        </p:spPr>
        <p:txBody>
          <a:bodyPr anchor="ct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文本占位符 13"/>
          <p:cNvSpPr>
            <a:spLocks noGrp="1"/>
          </p:cNvSpPr>
          <p:nvPr userDrawn="1">
            <p:ph type="body" sz="quarter" idx="10" hasCustomPrompt="1"/>
          </p:nvPr>
        </p:nvSpPr>
        <p:spPr>
          <a:xfrm>
            <a:off x="673100" y="3457766"/>
            <a:ext cx="5844995" cy="25892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3" name="文本占位符 13"/>
          <p:cNvSpPr>
            <a:spLocks noGrp="1"/>
          </p:cNvSpPr>
          <p:nvPr userDrawn="1">
            <p:ph type="body" sz="quarter" idx="11" hasCustomPrompt="1"/>
          </p:nvPr>
        </p:nvSpPr>
        <p:spPr>
          <a:xfrm>
            <a:off x="673101" y="3758927"/>
            <a:ext cx="5844996" cy="29639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date</a:t>
            </a:r>
            <a:endParaRPr lang="zh-CN" altLang="en-US"/>
          </a:p>
        </p:txBody>
      </p:sp>
      <p:sp>
        <p:nvSpPr>
          <p:cNvPr id="72" name="等腰三角形 71"/>
          <p:cNvSpPr/>
          <p:nvPr userDrawn="1"/>
        </p:nvSpPr>
        <p:spPr>
          <a:xfrm>
            <a:off x="800100" y="4372459"/>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73" name="图形 72"/>
          <p:cNvPicPr>
            <a:picLocks noChangeAspect="1"/>
          </p:cNvPicPr>
          <p:nvPr userDrawn="1"/>
        </p:nvPicPr>
        <p:blipFill>
          <a:blip r:embed="rId2"/>
          <a:stretch>
            <a:fillRect/>
          </a:stretch>
        </p:blipFill>
        <p:spPr>
          <a:xfrm>
            <a:off x="5111916" y="1242605"/>
            <a:ext cx="6611357" cy="3415138"/>
          </a:xfrm>
          <a:prstGeom prst="rect">
            <a:avLst/>
          </a:prstGeom>
          <a:effectLst>
            <a:outerShdw blurRad="76200" dist="25400" dir="2700000" algn="tl" rotWithShape="0">
              <a:prstClr val="black">
                <a:alpha val="40000"/>
              </a:prstClr>
            </a:outerShdw>
          </a:effectLst>
        </p:spPr>
      </p:pic>
      <p:pic>
        <p:nvPicPr>
          <p:cNvPr id="74" name="图形 73"/>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1905000"/>
            <a:ext cx="12192000" cy="2832100"/>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lvl="0" algn="ctr"/>
            <a:endParaRPr lang="zh-CN" altLang="en-US"/>
          </a:p>
        </p:txBody>
      </p:sp>
      <p:sp>
        <p:nvSpPr>
          <p:cNvPr id="20" name="标题 1"/>
          <p:cNvSpPr>
            <a:spLocks noGrp="1"/>
          </p:cNvSpPr>
          <p:nvPr userDrawn="1">
            <p:ph type="title"/>
          </p:nvPr>
        </p:nvSpPr>
        <p:spPr>
          <a:xfrm>
            <a:off x="669925" y="2533649"/>
            <a:ext cx="10849447" cy="895351"/>
          </a:xfrm>
        </p:spPr>
        <p:txBody>
          <a:bodyPr anchor="b">
            <a:normAutofit/>
          </a:bodyPr>
          <a:lstStyle>
            <a:lvl1pPr algn="l">
              <a:defRPr sz="2400" b="1">
                <a:solidFill>
                  <a:schemeClr val="bg1"/>
                </a:solidFill>
              </a:defRPr>
            </a:lvl1pPr>
          </a:lstStyle>
          <a:p>
            <a:r>
              <a:rPr lang="en-US"/>
              <a:t>Click to edit Master title style</a:t>
            </a:r>
            <a:endParaRPr lang="zh-CN" altLang="en-US"/>
          </a:p>
        </p:txBody>
      </p:sp>
      <p:sp>
        <p:nvSpPr>
          <p:cNvPr id="21" name="文本占位符 2"/>
          <p:cNvSpPr>
            <a:spLocks noGrp="1"/>
          </p:cNvSpPr>
          <p:nvPr userDrawn="1">
            <p:ph type="body" idx="1"/>
          </p:nvPr>
        </p:nvSpPr>
        <p:spPr>
          <a:xfrm>
            <a:off x="671041" y="3429000"/>
            <a:ext cx="10849447" cy="1243895"/>
          </a:xfrm>
        </p:spPr>
        <p:txBody>
          <a:bodyPr anchor="t">
            <a:normAutofit/>
          </a:bodyPr>
          <a:lstStyle>
            <a:lvl1pPr marL="0" indent="0" algn="l">
              <a:lnSpc>
                <a:spcPct val="100000"/>
              </a:lnSpc>
              <a:buNone/>
              <a:defRPr sz="11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16" name="图形 15"/>
          <p:cNvPicPr>
            <a:picLocks noChangeAspect="1"/>
          </p:cNvPicPr>
          <p:nvPr userDrawn="1"/>
        </p:nvPicPr>
        <p:blipFill>
          <a:blip r:embed="rId2"/>
          <a:stretch>
            <a:fillRect/>
          </a:stretch>
        </p:blipFill>
        <p:spPr>
          <a:xfrm>
            <a:off x="6094648" y="2035634"/>
            <a:ext cx="4852573" cy="2506627"/>
          </a:xfrm>
          <a:prstGeom prst="rect">
            <a:avLst/>
          </a:prstGeom>
          <a:effectLst>
            <a:outerShdw blurRad="76200" dist="25400" dir="2700000" algn="tl" rotWithShape="0">
              <a:prstClr val="black">
                <a:alpha val="40000"/>
              </a:prstClr>
            </a:outerShdw>
          </a:effectLst>
        </p:spPr>
      </p:pic>
    </p:spTree>
  </p:cSld>
  <p:clrMapOvr>
    <a:overrideClrMapping bg1="lt1" tx1="dk1" bg2="lt2" tx2="dk2" accent1="accent1" accent2="accent2" accent3="accent3" accent4="accent4" accent5="accent5" accent6="accent6" hlink="hlink" folHlink="folHlink"/>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5" Type="http://schemas.openxmlformats.org/officeDocument/2006/relationships/slideLayout" Target="../slideLayouts/slideLayout19.xml"/><Relationship Id="rId4" Type="http://schemas.openxmlformats.org/officeDocument/2006/relationships/slideLayout" Target="../slideLayouts/slideLayout1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a:t>Click to edit Master title style</a:t>
            </a:r>
            <a:endParaRPr lang="zh-CN" altLang="en-US"/>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zh-CN" altLang="en-US"/>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F6DE2F0B-553A-0F46-B53A-381754DB6C4C}" type="datetime1">
              <a:rPr lang="zh-CN" altLang="en-US" smtClean="0"/>
              <a:t>2024/2/2</a:t>
            </a:fld>
            <a:endParaRPr lang="zh-CN" altLang="en-US"/>
          </a:p>
        </p:txBody>
      </p:sp>
      <p:sp>
        <p:nvSpPr>
          <p:cNvPr id="9" name="页脚占位符 4"/>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en-US" altLang="zh-CN"/>
              <a:t>www.islide.cc</a:t>
            </a:r>
            <a:endParaRPr lang="zh-CN" altLang="en-US"/>
          </a:p>
        </p:txBody>
      </p:sp>
      <p:sp>
        <p:nvSpPr>
          <p:cNvPr id="10" name="灯片编号占位符 5"/>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65" r:id="rId8"/>
    <p:sldLayoutId id="2147483666" r:id="rId9"/>
    <p:sldLayoutId id="2147483667" r:id="rId10"/>
    <p:sldLayoutId id="2147483668" r:id="rId11"/>
    <p:sldLayoutId id="2147483669" r:id="rId12"/>
    <p:sldLayoutId id="2147483670" r:id="rId13"/>
    <p:sldLayoutId id="2147483671" r:id="rId14"/>
  </p:sldLayoutIdLst>
  <p:hf hdr="0" ftr="0" dt="0"/>
  <p:txStyles>
    <p:title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3765"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3765" rtl="0" eaLnBrk="1" latinLnBrk="0" hangingPunct="1">
        <a:defRPr sz="1800" kern="1200">
          <a:solidFill>
            <a:schemeClr val="tx1"/>
          </a:solidFill>
          <a:latin typeface="+mn-lt"/>
          <a:ea typeface="+mn-ea"/>
          <a:cs typeface="+mn-cs"/>
        </a:defRPr>
      </a:lvl1pPr>
      <a:lvl2pPr marL="457200" algn="l" defTabSz="913765" rtl="0" eaLnBrk="1" latinLnBrk="0" hangingPunct="1">
        <a:defRPr sz="1800" kern="1200">
          <a:solidFill>
            <a:schemeClr val="tx1"/>
          </a:solidFill>
          <a:latin typeface="+mn-lt"/>
          <a:ea typeface="+mn-ea"/>
          <a:cs typeface="+mn-cs"/>
        </a:defRPr>
      </a:lvl2pPr>
      <a:lvl3pPr marL="914400" algn="l" defTabSz="913765" rtl="0" eaLnBrk="1" latinLnBrk="0" hangingPunct="1">
        <a:defRPr sz="1800" kern="1200">
          <a:solidFill>
            <a:schemeClr val="tx1"/>
          </a:solidFill>
          <a:latin typeface="+mn-lt"/>
          <a:ea typeface="+mn-ea"/>
          <a:cs typeface="+mn-cs"/>
        </a:defRPr>
      </a:lvl3pPr>
      <a:lvl4pPr marL="1371600" algn="l" defTabSz="913765" rtl="0" eaLnBrk="1" latinLnBrk="0" hangingPunct="1">
        <a:defRPr sz="1800" kern="1200">
          <a:solidFill>
            <a:schemeClr val="tx1"/>
          </a:solidFill>
          <a:latin typeface="+mn-lt"/>
          <a:ea typeface="+mn-ea"/>
          <a:cs typeface="+mn-cs"/>
        </a:defRPr>
      </a:lvl4pPr>
      <a:lvl5pPr marL="1828800" algn="l" defTabSz="913765" rtl="0" eaLnBrk="1" latinLnBrk="0" hangingPunct="1">
        <a:defRPr sz="1800" kern="1200">
          <a:solidFill>
            <a:schemeClr val="tx1"/>
          </a:solidFill>
          <a:latin typeface="+mn-lt"/>
          <a:ea typeface="+mn-ea"/>
          <a:cs typeface="+mn-cs"/>
        </a:defRPr>
      </a:lvl5pPr>
      <a:lvl6pPr marL="2286000" algn="l" defTabSz="913765" rtl="0" eaLnBrk="1" latinLnBrk="0" hangingPunct="1">
        <a:defRPr sz="1800" kern="1200">
          <a:solidFill>
            <a:schemeClr val="tx1"/>
          </a:solidFill>
          <a:latin typeface="+mn-lt"/>
          <a:ea typeface="+mn-ea"/>
          <a:cs typeface="+mn-cs"/>
        </a:defRPr>
      </a:lvl6pPr>
      <a:lvl7pPr marL="2743200" algn="l" defTabSz="913765" rtl="0" eaLnBrk="1" latinLnBrk="0" hangingPunct="1">
        <a:defRPr sz="1800" kern="1200">
          <a:solidFill>
            <a:schemeClr val="tx1"/>
          </a:solidFill>
          <a:latin typeface="+mn-lt"/>
          <a:ea typeface="+mn-ea"/>
          <a:cs typeface="+mn-cs"/>
        </a:defRPr>
      </a:lvl7pPr>
      <a:lvl8pPr marL="3200400" algn="l" defTabSz="913765" rtl="0" eaLnBrk="1" latinLnBrk="0" hangingPunct="1">
        <a:defRPr sz="1800" kern="1200">
          <a:solidFill>
            <a:schemeClr val="tx1"/>
          </a:solidFill>
          <a:latin typeface="+mn-lt"/>
          <a:ea typeface="+mn-ea"/>
          <a:cs typeface="+mn-cs"/>
        </a:defRPr>
      </a:lvl8pPr>
      <a:lvl9pPr marL="3657600" algn="l" defTabSz="91376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a:t>Click to edit Master title style</a:t>
            </a:r>
            <a:endParaRPr lang="zh-CN" altLang="en-US"/>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zh-CN" altLang="en-US"/>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6489D9C7-5DC6-4263-87FF-7C99F6FB63C3}" type="datetime1">
              <a:rPr lang="zh-CN" altLang="en-US" smtClean="0"/>
              <a:t>2024/2/2</a:t>
            </a:fld>
            <a:endParaRPr lang="zh-CN" altLang="en-US"/>
          </a:p>
        </p:txBody>
      </p:sp>
      <p:sp>
        <p:nvSpPr>
          <p:cNvPr id="9" name="页脚占位符 4"/>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en-US" altLang="zh-CN"/>
              <a:t>www.islide.cc</a:t>
            </a:r>
            <a:endParaRPr lang="zh-CN" altLang="en-US"/>
          </a:p>
        </p:txBody>
      </p:sp>
      <p:sp>
        <p:nvSpPr>
          <p:cNvPr id="10" name="灯片编号占位符 5"/>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60" r:id="rId4"/>
    <p:sldLayoutId id="2147483661" r:id="rId5"/>
    <p:sldLayoutId id="2147483662" r:id="rId6"/>
    <p:sldLayoutId id="2147483663" r:id="rId7"/>
  </p:sldLayoutIdLst>
  <p:hf hdr="0" ftr="0" dt="0"/>
  <p:txStyles>
    <p:title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3765"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3765" rtl="0" eaLnBrk="1" latinLnBrk="0" hangingPunct="1">
        <a:defRPr sz="1800" kern="1200">
          <a:solidFill>
            <a:schemeClr val="tx1"/>
          </a:solidFill>
          <a:latin typeface="+mn-lt"/>
          <a:ea typeface="+mn-ea"/>
          <a:cs typeface="+mn-cs"/>
        </a:defRPr>
      </a:lvl1pPr>
      <a:lvl2pPr marL="457200" algn="l" defTabSz="913765" rtl="0" eaLnBrk="1" latinLnBrk="0" hangingPunct="1">
        <a:defRPr sz="1800" kern="1200">
          <a:solidFill>
            <a:schemeClr val="tx1"/>
          </a:solidFill>
          <a:latin typeface="+mn-lt"/>
          <a:ea typeface="+mn-ea"/>
          <a:cs typeface="+mn-cs"/>
        </a:defRPr>
      </a:lvl2pPr>
      <a:lvl3pPr marL="914400" algn="l" defTabSz="913765" rtl="0" eaLnBrk="1" latinLnBrk="0" hangingPunct="1">
        <a:defRPr sz="1800" kern="1200">
          <a:solidFill>
            <a:schemeClr val="tx1"/>
          </a:solidFill>
          <a:latin typeface="+mn-lt"/>
          <a:ea typeface="+mn-ea"/>
          <a:cs typeface="+mn-cs"/>
        </a:defRPr>
      </a:lvl3pPr>
      <a:lvl4pPr marL="1371600" algn="l" defTabSz="913765" rtl="0" eaLnBrk="1" latinLnBrk="0" hangingPunct="1">
        <a:defRPr sz="1800" kern="1200">
          <a:solidFill>
            <a:schemeClr val="tx1"/>
          </a:solidFill>
          <a:latin typeface="+mn-lt"/>
          <a:ea typeface="+mn-ea"/>
          <a:cs typeface="+mn-cs"/>
        </a:defRPr>
      </a:lvl4pPr>
      <a:lvl5pPr marL="1828800" algn="l" defTabSz="913765" rtl="0" eaLnBrk="1" latinLnBrk="0" hangingPunct="1">
        <a:defRPr sz="1800" kern="1200">
          <a:solidFill>
            <a:schemeClr val="tx1"/>
          </a:solidFill>
          <a:latin typeface="+mn-lt"/>
          <a:ea typeface="+mn-ea"/>
          <a:cs typeface="+mn-cs"/>
        </a:defRPr>
      </a:lvl5pPr>
      <a:lvl6pPr marL="2286000" algn="l" defTabSz="913765" rtl="0" eaLnBrk="1" latinLnBrk="0" hangingPunct="1">
        <a:defRPr sz="1800" kern="1200">
          <a:solidFill>
            <a:schemeClr val="tx1"/>
          </a:solidFill>
          <a:latin typeface="+mn-lt"/>
          <a:ea typeface="+mn-ea"/>
          <a:cs typeface="+mn-cs"/>
        </a:defRPr>
      </a:lvl6pPr>
      <a:lvl7pPr marL="2743200" algn="l" defTabSz="913765" rtl="0" eaLnBrk="1" latinLnBrk="0" hangingPunct="1">
        <a:defRPr sz="1800" kern="1200">
          <a:solidFill>
            <a:schemeClr val="tx1"/>
          </a:solidFill>
          <a:latin typeface="+mn-lt"/>
          <a:ea typeface="+mn-ea"/>
          <a:cs typeface="+mn-cs"/>
        </a:defRPr>
      </a:lvl7pPr>
      <a:lvl8pPr marL="3200400" algn="l" defTabSz="913765" rtl="0" eaLnBrk="1" latinLnBrk="0" hangingPunct="1">
        <a:defRPr sz="1800" kern="1200">
          <a:solidFill>
            <a:schemeClr val="tx1"/>
          </a:solidFill>
          <a:latin typeface="+mn-lt"/>
          <a:ea typeface="+mn-ea"/>
          <a:cs typeface="+mn-cs"/>
        </a:defRPr>
      </a:lvl8pPr>
      <a:lvl9pPr marL="3657600" algn="l" defTabSz="913765"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2.xml"/><Relationship Id="rId7" Type="http://schemas.openxmlformats.org/officeDocument/2006/relationships/image" Target="../media/image4.emf"/><Relationship Id="rId2" Type="http://schemas.openxmlformats.org/officeDocument/2006/relationships/tags" Target="../tags/tag1.xml"/><Relationship Id="rId1" Type="http://schemas.openxmlformats.org/officeDocument/2006/relationships/themeOverride" Target="../theme/themeOverride1.xml"/><Relationship Id="rId6" Type="http://schemas.openxmlformats.org/officeDocument/2006/relationships/oleObject" Target="../embeddings/oleObject1.bin"/><Relationship Id="rId5" Type="http://schemas.openxmlformats.org/officeDocument/2006/relationships/notesSlide" Target="../notesSlides/notesSlide1.xml"/><Relationship Id="rId10" Type="http://schemas.openxmlformats.org/officeDocument/2006/relationships/image" Target="../media/image7.png"/><Relationship Id="rId4" Type="http://schemas.openxmlformats.org/officeDocument/2006/relationships/slideLayout" Target="../slideLayouts/slideLayout9.xml"/><Relationship Id="rId9" Type="http://schemas.openxmlformats.org/officeDocument/2006/relationships/image" Target="../media/image6.png"/></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s>
</file>

<file path=ppt/slides/_rels/slide4.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7.png"/><Relationship Id="rId7"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image" Target="../media/image18.png"/><Relationship Id="rId11" Type="http://schemas.openxmlformats.org/officeDocument/2006/relationships/image" Target="../media/image23.png"/><Relationship Id="rId5" Type="http://schemas.openxmlformats.org/officeDocument/2006/relationships/image" Target="../media/image17.pn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png"/></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4.xml"/><Relationship Id="rId7" Type="http://schemas.openxmlformats.org/officeDocument/2006/relationships/image" Target="../media/image5.png"/><Relationship Id="rId2" Type="http://schemas.openxmlformats.org/officeDocument/2006/relationships/tags" Target="../tags/tag3.xml"/><Relationship Id="rId1" Type="http://schemas.openxmlformats.org/officeDocument/2006/relationships/themeOverride" Target="../theme/themeOverride2.x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slideLayout" Target="../slideLayouts/slideLayout9.xml"/><Relationship Id="rId9" Type="http://schemas.openxmlformats.org/officeDocument/2006/relationships/image" Target="../media/image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9525" imgH="9525" progId="TCLayout.ActiveDocument.1">
                  <p:embed/>
                </p:oleObj>
              </mc:Choice>
              <mc:Fallback>
                <p:oleObj name="think-cell Slide" r:id="rId6" imgW="9525" imgH="9525" progId="TCLayout.ActiveDocument.1">
                  <p:embed/>
                  <p:pic>
                    <p:nvPicPr>
                      <p:cNvPr id="3" name="对象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矩形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4" name="标题 3"/>
          <p:cNvSpPr>
            <a:spLocks noGrp="1"/>
          </p:cNvSpPr>
          <p:nvPr>
            <p:ph type="title"/>
          </p:nvPr>
        </p:nvSpPr>
        <p:spPr>
          <a:xfrm>
            <a:off x="906776" y="2169043"/>
            <a:ext cx="5346078" cy="1343076"/>
          </a:xfrm>
        </p:spPr>
        <p:txBody>
          <a:bodyPr>
            <a:normAutofit fontScale="90000"/>
          </a:bodyPr>
          <a:lstStyle/>
          <a:p>
            <a:r>
              <a:rPr kumimoji="1" lang="en-US" altLang="zh-CN" sz="3200" dirty="0">
                <a:sym typeface="+mn-ea"/>
              </a:rPr>
              <a:t>Analysis of the energy sustainability of Machine Learning algorithms</a:t>
            </a:r>
            <a:endParaRPr lang="en-US" altLang="zh-CN" sz="3200" dirty="0">
              <a:cs typeface="Arial"/>
            </a:endParaRPr>
          </a:p>
        </p:txBody>
      </p:sp>
      <p:sp>
        <p:nvSpPr>
          <p:cNvPr id="11" name="文本占位符 5">
            <a:extLst>
              <a:ext uri="{FF2B5EF4-FFF2-40B4-BE49-F238E27FC236}">
                <a16:creationId xmlns:a16="http://schemas.microsoft.com/office/drawing/2014/main" id="{33C6CE68-C2C1-F282-524E-5539C7E285BE}"/>
              </a:ext>
            </a:extLst>
          </p:cNvPr>
          <p:cNvSpPr>
            <a:spLocks noGrp="1"/>
          </p:cNvSpPr>
          <p:nvPr>
            <p:ph type="body" idx="1"/>
          </p:nvPr>
        </p:nvSpPr>
        <p:spPr>
          <a:xfrm>
            <a:off x="906776" y="4035993"/>
            <a:ext cx="2114554" cy="466204"/>
          </a:xfrm>
        </p:spPr>
        <p:txBody>
          <a:bodyPr/>
          <a:lstStyle/>
          <a:p>
            <a:pPr fontAlgn="auto">
              <a:lnSpc>
                <a:spcPts val="800"/>
              </a:lnSpc>
            </a:pPr>
            <a:r>
              <a:rPr lang="en-US" altLang="zh-CN" sz="1400" dirty="0">
                <a:sym typeface="+mn-ea"/>
              </a:rPr>
              <a:t>Students:</a:t>
            </a:r>
          </a:p>
          <a:p>
            <a:pPr>
              <a:lnSpc>
                <a:spcPts val="800"/>
              </a:lnSpc>
            </a:pPr>
            <a:r>
              <a:rPr lang="zh-CN" altLang="en-US" sz="1400" dirty="0">
                <a:sym typeface="+mn-ea"/>
              </a:rPr>
              <a:t>                </a:t>
            </a:r>
            <a:r>
              <a:rPr lang="en-US" altLang="zh-CN" sz="1400" dirty="0">
                <a:sym typeface="+mn-ea"/>
              </a:rPr>
              <a:t>Yin Jun</a:t>
            </a:r>
            <a:endParaRPr lang="en-US" altLang="zh-CN" sz="1400" dirty="0">
              <a:cs typeface="Arial"/>
            </a:endParaRPr>
          </a:p>
        </p:txBody>
      </p:sp>
      <p:cxnSp>
        <p:nvCxnSpPr>
          <p:cNvPr id="21" name="直接连接符 20"/>
          <p:cNvCxnSpPr/>
          <p:nvPr/>
        </p:nvCxnSpPr>
        <p:spPr>
          <a:xfrm>
            <a:off x="669925" y="934085"/>
            <a:ext cx="5715" cy="143446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图片 8"/>
          <p:cNvPicPr>
            <a:picLocks noChangeAspect="1"/>
          </p:cNvPicPr>
          <p:nvPr/>
        </p:nvPicPr>
        <p:blipFill>
          <a:blip r:embed="rId8"/>
          <a:stretch>
            <a:fillRect/>
          </a:stretch>
        </p:blipFill>
        <p:spPr>
          <a:xfrm>
            <a:off x="-6350" y="5506720"/>
            <a:ext cx="3027680" cy="1332230"/>
          </a:xfrm>
          <a:prstGeom prst="rect">
            <a:avLst/>
          </a:prstGeom>
        </p:spPr>
      </p:pic>
      <p:pic>
        <p:nvPicPr>
          <p:cNvPr id="7" name="图片 6"/>
          <p:cNvPicPr>
            <a:picLocks noChangeAspect="1"/>
          </p:cNvPicPr>
          <p:nvPr/>
        </p:nvPicPr>
        <p:blipFill>
          <a:blip r:embed="rId9"/>
          <a:stretch>
            <a:fillRect/>
          </a:stretch>
        </p:blipFill>
        <p:spPr>
          <a:xfrm>
            <a:off x="1378585" y="6118225"/>
            <a:ext cx="1642745" cy="720725"/>
          </a:xfrm>
          <a:prstGeom prst="rect">
            <a:avLst/>
          </a:prstGeom>
        </p:spPr>
      </p:pic>
      <p:sp>
        <p:nvSpPr>
          <p:cNvPr id="12" name="文本框 11">
            <a:extLst>
              <a:ext uri="{FF2B5EF4-FFF2-40B4-BE49-F238E27FC236}">
                <a16:creationId xmlns:a16="http://schemas.microsoft.com/office/drawing/2014/main" id="{8E874E43-FE07-F756-0A26-33F5EA3900EA}"/>
              </a:ext>
            </a:extLst>
          </p:cNvPr>
          <p:cNvSpPr txBox="1"/>
          <p:nvPr/>
        </p:nvSpPr>
        <p:spPr>
          <a:xfrm>
            <a:off x="3299909" y="4035993"/>
            <a:ext cx="2716095" cy="671787"/>
          </a:xfrm>
          <a:prstGeom prst="rect">
            <a:avLst/>
          </a:prstGeom>
          <a:noFill/>
        </p:spPr>
        <p:txBody>
          <a:bodyPr wrap="square" rtlCol="0">
            <a:spAutoFit/>
          </a:bodyPr>
          <a:lstStyle/>
          <a:p>
            <a:pPr defTabSz="913765">
              <a:lnSpc>
                <a:spcPts val="800"/>
              </a:lnSpc>
              <a:spcBef>
                <a:spcPts val="1000"/>
              </a:spcBef>
            </a:pPr>
            <a:r>
              <a:rPr lang="en-US" altLang="zh-CN" sz="1400" dirty="0">
                <a:solidFill>
                  <a:schemeClr val="bg1"/>
                </a:solidFill>
              </a:rPr>
              <a:t>Tutors:</a:t>
            </a:r>
            <a:r>
              <a:rPr lang="zh-CN" altLang="en-US" sz="1400" dirty="0">
                <a:solidFill>
                  <a:schemeClr val="bg1"/>
                </a:solidFill>
              </a:rPr>
              <a:t>   </a:t>
            </a:r>
            <a:endParaRPr lang="en-US" altLang="zh-CN" sz="1400" dirty="0">
              <a:solidFill>
                <a:schemeClr val="bg1"/>
              </a:solidFill>
            </a:endParaRPr>
          </a:p>
          <a:p>
            <a:pPr defTabSz="913765">
              <a:lnSpc>
                <a:spcPts val="800"/>
              </a:lnSpc>
              <a:spcBef>
                <a:spcPts val="1000"/>
              </a:spcBef>
            </a:pPr>
            <a:r>
              <a:rPr lang="en-US" altLang="zh-CN" sz="1400" dirty="0">
                <a:solidFill>
                  <a:schemeClr val="bg1"/>
                </a:solidFill>
              </a:rPr>
              <a:t>              Prof.</a:t>
            </a:r>
            <a:r>
              <a:rPr lang="zh-CN" altLang="en-US" sz="1400" dirty="0">
                <a:solidFill>
                  <a:schemeClr val="bg1"/>
                </a:solidFill>
              </a:rPr>
              <a:t> </a:t>
            </a:r>
            <a:r>
              <a:rPr lang="en-US" altLang="zh-CN" sz="1400" dirty="0" err="1">
                <a:solidFill>
                  <a:schemeClr val="bg1"/>
                </a:solidFill>
              </a:rPr>
              <a:t>Meo</a:t>
            </a:r>
            <a:r>
              <a:rPr lang="zh-CN" altLang="en-US" sz="1400" dirty="0">
                <a:solidFill>
                  <a:schemeClr val="bg1"/>
                </a:solidFill>
              </a:rPr>
              <a:t> </a:t>
            </a:r>
            <a:r>
              <a:rPr lang="en-US" altLang="zh-CN" sz="1400" dirty="0">
                <a:solidFill>
                  <a:schemeClr val="bg1"/>
                </a:solidFill>
              </a:rPr>
              <a:t>Michela</a:t>
            </a:r>
          </a:p>
          <a:p>
            <a:pPr defTabSz="913765">
              <a:lnSpc>
                <a:spcPts val="800"/>
              </a:lnSpc>
              <a:spcBef>
                <a:spcPts val="1000"/>
              </a:spcBef>
            </a:pPr>
            <a:r>
              <a:rPr lang="en-US" altLang="zh-CN" sz="1400" dirty="0">
                <a:solidFill>
                  <a:schemeClr val="bg1"/>
                </a:solidFill>
              </a:rPr>
              <a:t>              Prof. </a:t>
            </a:r>
            <a:r>
              <a:rPr lang="en-US" altLang="zh-CN" sz="1400" dirty="0" err="1">
                <a:solidFill>
                  <a:schemeClr val="bg1"/>
                </a:solidFill>
              </a:rPr>
              <a:t>Vallero</a:t>
            </a:r>
            <a:r>
              <a:rPr lang="zh-CN" altLang="en-US" sz="1400" dirty="0">
                <a:solidFill>
                  <a:schemeClr val="bg1"/>
                </a:solidFill>
              </a:rPr>
              <a:t> </a:t>
            </a:r>
            <a:r>
              <a:rPr lang="en-US" altLang="zh-CN" sz="1400" dirty="0">
                <a:solidFill>
                  <a:schemeClr val="bg1"/>
                </a:solidFill>
              </a:rPr>
              <a:t>Greta</a:t>
            </a:r>
          </a:p>
        </p:txBody>
      </p:sp>
      <p:sp>
        <p:nvSpPr>
          <p:cNvPr id="5" name="文本框 4">
            <a:extLst>
              <a:ext uri="{FF2B5EF4-FFF2-40B4-BE49-F238E27FC236}">
                <a16:creationId xmlns:a16="http://schemas.microsoft.com/office/drawing/2014/main" id="{4C51D62C-5F52-EF1C-138B-041679BB5F94}"/>
              </a:ext>
            </a:extLst>
          </p:cNvPr>
          <p:cNvSpPr txBox="1"/>
          <p:nvPr/>
        </p:nvSpPr>
        <p:spPr>
          <a:xfrm>
            <a:off x="5329413" y="6309310"/>
            <a:ext cx="1305303" cy="338554"/>
          </a:xfrm>
          <a:prstGeom prst="rect">
            <a:avLst/>
          </a:prstGeom>
          <a:noFill/>
        </p:spPr>
        <p:txBody>
          <a:bodyPr wrap="square" lIns="91440" tIns="45720" rIns="91440" bIns="45720" rtlCol="0" anchor="t">
            <a:spAutoFit/>
          </a:bodyPr>
          <a:lstStyle/>
          <a:p>
            <a:r>
              <a:rPr kumimoji="1" lang="en-US" altLang="zh-CN" sz="1600" dirty="0"/>
              <a:t>23/10/2023</a:t>
            </a:r>
            <a:endParaRPr kumimoji="1" lang="zh-CN" altLang="en-US" sz="1600" dirty="0"/>
          </a:p>
        </p:txBody>
      </p:sp>
      <p:pic>
        <p:nvPicPr>
          <p:cNvPr id="6" name="Google Shape;64;p1">
            <a:extLst>
              <a:ext uri="{FF2B5EF4-FFF2-40B4-BE49-F238E27FC236}">
                <a16:creationId xmlns:a16="http://schemas.microsoft.com/office/drawing/2014/main" id="{3123716C-7B7C-1213-1F9D-16B1AC486293}"/>
              </a:ext>
            </a:extLst>
          </p:cNvPr>
          <p:cNvPicPr preferRelativeResize="0"/>
          <p:nvPr/>
        </p:nvPicPr>
        <p:blipFill rotWithShape="1">
          <a:blip r:embed="rId10">
            <a:alphaModFix/>
          </a:blip>
          <a:srcRect/>
          <a:stretch/>
        </p:blipFill>
        <p:spPr>
          <a:xfrm>
            <a:off x="-6350" y="5423535"/>
            <a:ext cx="3292475" cy="1434465"/>
          </a:xfrm>
          <a:prstGeom prst="rect">
            <a:avLst/>
          </a:prstGeom>
          <a:noFill/>
          <a:ln>
            <a:noFill/>
          </a:ln>
        </p:spPr>
      </p:pic>
      <p:sp>
        <p:nvSpPr>
          <p:cNvPr id="16" name="文本框 15">
            <a:extLst>
              <a:ext uri="{FF2B5EF4-FFF2-40B4-BE49-F238E27FC236}">
                <a16:creationId xmlns:a16="http://schemas.microsoft.com/office/drawing/2014/main" id="{1C4E181F-A543-E0B1-0B43-5DD1B6D26ADC}"/>
              </a:ext>
            </a:extLst>
          </p:cNvPr>
          <p:cNvSpPr txBox="1"/>
          <p:nvPr/>
        </p:nvSpPr>
        <p:spPr>
          <a:xfrm>
            <a:off x="5000088" y="5933559"/>
            <a:ext cx="1963952" cy="369332"/>
          </a:xfrm>
          <a:prstGeom prst="rect">
            <a:avLst/>
          </a:prstGeom>
          <a:noFill/>
        </p:spPr>
        <p:txBody>
          <a:bodyPr wrap="square" rtlCol="0">
            <a:spAutoFit/>
          </a:bodyPr>
          <a:lstStyle/>
          <a:p>
            <a:r>
              <a:rPr kumimoji="1" lang="en-US" altLang="zh-CN" dirty="0"/>
              <a:t>First presentation</a:t>
            </a:r>
            <a:endParaRPr kumimoji="1" lang="zh-CN" altLang="en-US"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Analytical model to calculate the power consumption</a:t>
            </a:r>
            <a:endParaRPr lang="zh-CN" altLang="en-US" dirty="0"/>
          </a:p>
        </p:txBody>
      </p:sp>
      <p:sp>
        <p:nvSpPr>
          <p:cNvPr id="3" name="灯片编号占位符 2">
            <a:extLst>
              <a:ext uri="{FF2B5EF4-FFF2-40B4-BE49-F238E27FC236}">
                <a16:creationId xmlns:a16="http://schemas.microsoft.com/office/drawing/2014/main" id="{58D441BF-C6C1-1002-5DFF-76F5613DCCA7}"/>
              </a:ext>
            </a:extLst>
          </p:cNvPr>
          <p:cNvSpPr>
            <a:spLocks noGrp="1"/>
          </p:cNvSpPr>
          <p:nvPr>
            <p:ph type="sldNum" sz="quarter" idx="12"/>
          </p:nvPr>
        </p:nvSpPr>
        <p:spPr/>
        <p:txBody>
          <a:bodyPr/>
          <a:lstStyle/>
          <a:p>
            <a:fld id="{5DD3DB80-B894-403A-B48E-6FDC1A72010E}" type="slidenum">
              <a:rPr lang="zh-CN" altLang="en-US" smtClean="0"/>
              <a:t>2</a:t>
            </a:fld>
            <a:endParaRPr lang="zh-CN" altLang="en-US"/>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5" name="文本框 4">
            <a:extLst>
              <a:ext uri="{FF2B5EF4-FFF2-40B4-BE49-F238E27FC236}">
                <a16:creationId xmlns:a16="http://schemas.microsoft.com/office/drawing/2014/main" id="{4D3677C1-B470-5EFE-B56C-7444CAE79BFB}"/>
              </a:ext>
            </a:extLst>
          </p:cNvPr>
          <p:cNvSpPr txBox="1"/>
          <p:nvPr/>
        </p:nvSpPr>
        <p:spPr>
          <a:xfrm>
            <a:off x="492124" y="6581000"/>
            <a:ext cx="3787776" cy="276999"/>
          </a:xfrm>
          <a:prstGeom prst="rect">
            <a:avLst/>
          </a:prstGeom>
          <a:noFill/>
        </p:spPr>
        <p:txBody>
          <a:bodyPr wrap="square">
            <a:spAutoFit/>
          </a:bodyPr>
          <a:lstStyle/>
          <a:p>
            <a:r>
              <a:rPr lang="zh-CN" altLang="en-US" sz="1200" dirty="0"/>
              <a:t>https://github.com/sovrasov/flops-counter.pytorch</a:t>
            </a:r>
          </a:p>
        </p:txBody>
      </p:sp>
      <p:graphicFrame>
        <p:nvGraphicFramePr>
          <p:cNvPr id="6" name="表格 5">
            <a:extLst>
              <a:ext uri="{FF2B5EF4-FFF2-40B4-BE49-F238E27FC236}">
                <a16:creationId xmlns:a16="http://schemas.microsoft.com/office/drawing/2014/main" id="{8251DBDA-7206-07F8-9E9E-1826EFB05526}"/>
              </a:ext>
            </a:extLst>
          </p:cNvPr>
          <p:cNvGraphicFramePr>
            <a:graphicFrameLocks noGrp="1"/>
          </p:cNvGraphicFramePr>
          <p:nvPr>
            <p:extLst>
              <p:ext uri="{D42A27DB-BD31-4B8C-83A1-F6EECF244321}">
                <p14:modId xmlns:p14="http://schemas.microsoft.com/office/powerpoint/2010/main" val="4069766841"/>
              </p:ext>
            </p:extLst>
          </p:nvPr>
        </p:nvGraphicFramePr>
        <p:xfrm>
          <a:off x="2608792" y="2570465"/>
          <a:ext cx="8128000" cy="2595880"/>
        </p:xfrm>
        <a:graphic>
          <a:graphicData uri="http://schemas.openxmlformats.org/drawingml/2006/table">
            <a:tbl>
              <a:tblPr firstRow="1" bandRow="1">
                <a:tableStyleId>{93296810-A885-4BE3-A3E7-6D5BEEA58F35}</a:tableStyleId>
              </a:tblPr>
              <a:tblGrid>
                <a:gridCol w="2032000">
                  <a:extLst>
                    <a:ext uri="{9D8B030D-6E8A-4147-A177-3AD203B41FA5}">
                      <a16:colId xmlns:a16="http://schemas.microsoft.com/office/drawing/2014/main" val="308431138"/>
                    </a:ext>
                  </a:extLst>
                </a:gridCol>
                <a:gridCol w="2032000">
                  <a:extLst>
                    <a:ext uri="{9D8B030D-6E8A-4147-A177-3AD203B41FA5}">
                      <a16:colId xmlns:a16="http://schemas.microsoft.com/office/drawing/2014/main" val="3786749325"/>
                    </a:ext>
                  </a:extLst>
                </a:gridCol>
                <a:gridCol w="2032000">
                  <a:extLst>
                    <a:ext uri="{9D8B030D-6E8A-4147-A177-3AD203B41FA5}">
                      <a16:colId xmlns:a16="http://schemas.microsoft.com/office/drawing/2014/main" val="3430785269"/>
                    </a:ext>
                  </a:extLst>
                </a:gridCol>
                <a:gridCol w="2032000">
                  <a:extLst>
                    <a:ext uri="{9D8B030D-6E8A-4147-A177-3AD203B41FA5}">
                      <a16:colId xmlns:a16="http://schemas.microsoft.com/office/drawing/2014/main" val="3461810617"/>
                    </a:ext>
                  </a:extLst>
                </a:gridCol>
              </a:tblGrid>
              <a:tr h="370840">
                <a:tc>
                  <a:txBody>
                    <a:bodyPr/>
                    <a:lstStyle/>
                    <a:p>
                      <a:pPr algn="ctr"/>
                      <a:r>
                        <a:rPr lang="en-US" altLang="zh-CN" dirty="0" err="1"/>
                        <a:t>Alexnet</a:t>
                      </a:r>
                      <a:endParaRPr lang="zh-CN" altLang="en-US" dirty="0"/>
                    </a:p>
                  </a:txBody>
                  <a:tcPr/>
                </a:tc>
                <a:tc>
                  <a:txBody>
                    <a:bodyPr/>
                    <a:lstStyle/>
                    <a:p>
                      <a:pPr algn="ctr"/>
                      <a:r>
                        <a:rPr lang="en-US" altLang="zh-CN" dirty="0"/>
                        <a:t>VGG-11</a:t>
                      </a:r>
                      <a:endParaRPr lang="zh-CN" altLang="en-US" dirty="0"/>
                    </a:p>
                  </a:txBody>
                  <a:tcPr/>
                </a:tc>
                <a:tc>
                  <a:txBody>
                    <a:bodyPr/>
                    <a:lstStyle/>
                    <a:p>
                      <a:pPr algn="ctr"/>
                      <a:r>
                        <a:rPr lang="en-US" altLang="zh-CN" dirty="0"/>
                        <a:t>Resnet-18</a:t>
                      </a:r>
                      <a:endParaRPr lang="zh-CN" altLang="en-US" dirty="0"/>
                    </a:p>
                  </a:txBody>
                  <a:tcPr/>
                </a:tc>
                <a:tc>
                  <a:txBody>
                    <a:bodyPr/>
                    <a:lstStyle/>
                    <a:p>
                      <a:pPr algn="ctr"/>
                      <a:r>
                        <a:rPr lang="en-US" altLang="zh-CN" dirty="0" err="1"/>
                        <a:t>GoogLeNet</a:t>
                      </a:r>
                      <a:endParaRPr lang="zh-CN" altLang="en-US" dirty="0"/>
                    </a:p>
                  </a:txBody>
                  <a:tcPr/>
                </a:tc>
                <a:extLst>
                  <a:ext uri="{0D108BD9-81ED-4DB2-BD59-A6C34878D82A}">
                    <a16:rowId xmlns:a16="http://schemas.microsoft.com/office/drawing/2014/main" val="772620351"/>
                  </a:ext>
                </a:extLst>
              </a:tr>
              <a:tr h="370840">
                <a:tc>
                  <a:txBody>
                    <a:bodyPr/>
                    <a:lstStyle/>
                    <a:p>
                      <a:pPr algn="ctr"/>
                      <a:r>
                        <a:rPr lang="en-US" altLang="zh-CN" sz="1400" b="0" i="0" kern="1200" dirty="0">
                          <a:solidFill>
                            <a:schemeClr val="dk1"/>
                          </a:solidFill>
                          <a:effectLst/>
                          <a:latin typeface="+mn-lt"/>
                          <a:ea typeface="+mn-ea"/>
                          <a:cs typeface="+mn-cs"/>
                        </a:rPr>
                        <a:t>940.95 M</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7.58 G</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75 G</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278.62 M</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582060663"/>
                  </a:ext>
                </a:extLst>
              </a:tr>
              <a:tr h="370840">
                <a:tc>
                  <a:txBody>
                    <a:bodyPr/>
                    <a:lstStyle/>
                    <a:p>
                      <a:pPr algn="ctr"/>
                      <a:r>
                        <a:rPr lang="en-US" altLang="zh-CN" sz="1400" b="0" i="0" kern="1200" dirty="0">
                          <a:solidFill>
                            <a:schemeClr val="dk1"/>
                          </a:solidFill>
                          <a:effectLst/>
                          <a:latin typeface="+mn-lt"/>
                          <a:ea typeface="+mn-ea"/>
                          <a:cs typeface="+mn-cs"/>
                        </a:rPr>
                        <a:t>46.76 M </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28.81 M</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1.18 M</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5.98 M</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4001651562"/>
                  </a:ext>
                </a:extLst>
              </a:tr>
              <a:tr h="370840">
                <a:tc>
                  <a:txBody>
                    <a:bodyPr/>
                    <a:lstStyle/>
                    <a:p>
                      <a:pPr algn="ctr"/>
                      <a:r>
                        <a:rPr lang="en-US" altLang="zh-CN" sz="1400" b="0" i="0" kern="1200" dirty="0">
                          <a:solidFill>
                            <a:schemeClr val="dk1"/>
                          </a:solidFill>
                          <a:effectLst/>
                          <a:latin typeface="+mn-lt"/>
                          <a:ea typeface="+mn-ea"/>
                          <a:cs typeface="+mn-cs"/>
                        </a:rPr>
                        <a:t>34430.087 J</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13015.843 J</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12909.394 J</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124845.577 J</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778815278"/>
                  </a:ext>
                </a:extLst>
              </a:tr>
              <a:tr h="370840">
                <a:tc>
                  <a:txBody>
                    <a:bodyPr/>
                    <a:lstStyle/>
                    <a:p>
                      <a:pPr algn="ctr"/>
                      <a:r>
                        <a:rPr lang="en-US" altLang="zh-CN" sz="1400" b="0" i="0" kern="1200" dirty="0">
                          <a:solidFill>
                            <a:schemeClr val="dk1"/>
                          </a:solidFill>
                          <a:effectLst/>
                          <a:latin typeface="+mn-lt"/>
                          <a:ea typeface="+mn-ea"/>
                          <a:cs typeface="+mn-cs"/>
                        </a:rPr>
                        <a:t>437.3 s</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419.5 s</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1417.9 s</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1567.8 s</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793529967"/>
                  </a:ext>
                </a:extLst>
              </a:tr>
              <a:tr h="370840">
                <a:tc>
                  <a:txBody>
                    <a:bodyPr/>
                    <a:lstStyle/>
                    <a:p>
                      <a:pPr algn="ctr"/>
                      <a:r>
                        <a:rPr lang="en-US" altLang="zh-CN" sz="1400" dirty="0"/>
                        <a:t>87.92%</a:t>
                      </a:r>
                      <a:endParaRPr lang="zh-CN" altLang="en-US" sz="1400" dirty="0"/>
                    </a:p>
                  </a:txBody>
                  <a:tcPr/>
                </a:tc>
                <a:tc>
                  <a:txBody>
                    <a:bodyPr/>
                    <a:lstStyle/>
                    <a:p>
                      <a:pPr algn="ctr"/>
                      <a:r>
                        <a:rPr lang="en-US" altLang="zh-CN" sz="1400" dirty="0"/>
                        <a:t>97.42%</a:t>
                      </a:r>
                      <a:endParaRPr lang="zh-CN" altLang="en-US" sz="1400" dirty="0"/>
                    </a:p>
                  </a:txBody>
                  <a:tcPr/>
                </a:tc>
                <a:tc>
                  <a:txBody>
                    <a:bodyPr/>
                    <a:lstStyle/>
                    <a:p>
                      <a:pPr algn="ctr"/>
                      <a:r>
                        <a:rPr lang="en-US" altLang="zh-CN" sz="1400" dirty="0"/>
                        <a:t>97.43%</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81.73%</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3378416419"/>
                  </a:ext>
                </a:extLst>
              </a:tr>
              <a:tr h="370840">
                <a:tc>
                  <a:txBody>
                    <a:bodyPr/>
                    <a:lstStyle/>
                    <a:p>
                      <a:pPr algn="ctr"/>
                      <a:r>
                        <a:rPr lang="en-US" altLang="zh-CN" sz="1400" b="0" i="0" kern="1200" dirty="0">
                          <a:solidFill>
                            <a:schemeClr val="dk1"/>
                          </a:solidFill>
                          <a:effectLst/>
                          <a:latin typeface="+mn-lt"/>
                          <a:ea typeface="+mn-ea"/>
                          <a:cs typeface="+mn-cs"/>
                        </a:rPr>
                        <a:t>87.99%</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89.31%</a:t>
                      </a:r>
                      <a:endParaRPr lang="zh-CN" altLang="en-US" sz="1400" dirty="0"/>
                    </a:p>
                  </a:txBody>
                  <a:tcPr/>
                </a:tc>
                <a:tc>
                  <a:txBody>
                    <a:bodyPr/>
                    <a:lstStyle/>
                    <a:p>
                      <a:pPr algn="ctr"/>
                      <a:r>
                        <a:rPr lang="en-US" altLang="zh-CN" sz="1400" b="0" i="0" kern="1200" dirty="0">
                          <a:solidFill>
                            <a:schemeClr val="dk1"/>
                          </a:solidFill>
                          <a:effectLst/>
                          <a:latin typeface="+mn-lt"/>
                          <a:ea typeface="+mn-ea"/>
                          <a:cs typeface="+mn-cs"/>
                        </a:rPr>
                        <a:t>89.85%</a:t>
                      </a:r>
                      <a:endParaRPr lang="zh-CN" altLang="en-US" sz="1400" dirty="0"/>
                    </a:p>
                  </a:txBody>
                  <a:tcPr/>
                </a:tc>
                <a:tc>
                  <a:txBody>
                    <a:bodyPr/>
                    <a:lstStyle/>
                    <a:p>
                      <a:pPr marL="0" algn="ctr" defTabSz="913765" rtl="0" eaLnBrk="1" latinLnBrk="0" hangingPunct="1"/>
                      <a:r>
                        <a:rPr lang="en-US" altLang="zh-CN" sz="1400" b="0" i="0" kern="1200" dirty="0">
                          <a:solidFill>
                            <a:schemeClr val="dk1"/>
                          </a:solidFill>
                          <a:effectLst/>
                          <a:latin typeface="+mn-lt"/>
                          <a:ea typeface="+mn-ea"/>
                          <a:cs typeface="+mn-cs"/>
                        </a:rPr>
                        <a:t>81.88%</a:t>
                      </a:r>
                      <a:endParaRPr lang="zh-CN" altLang="en-US" sz="1400" b="0" i="0" kern="1200" dirty="0">
                        <a:solidFill>
                          <a:schemeClr val="dk1"/>
                        </a:solidFill>
                        <a:effectLst/>
                        <a:latin typeface="+mn-lt"/>
                        <a:ea typeface="+mn-ea"/>
                        <a:cs typeface="+mn-cs"/>
                      </a:endParaRPr>
                    </a:p>
                  </a:txBody>
                  <a:tcPr/>
                </a:tc>
                <a:extLst>
                  <a:ext uri="{0D108BD9-81ED-4DB2-BD59-A6C34878D82A}">
                    <a16:rowId xmlns:a16="http://schemas.microsoft.com/office/drawing/2014/main" val="1928304070"/>
                  </a:ext>
                </a:extLst>
              </a:tr>
            </a:tbl>
          </a:graphicData>
        </a:graphic>
      </p:graphicFrame>
      <p:sp>
        <p:nvSpPr>
          <p:cNvPr id="9" name="文本框 8">
            <a:extLst>
              <a:ext uri="{FF2B5EF4-FFF2-40B4-BE49-F238E27FC236}">
                <a16:creationId xmlns:a16="http://schemas.microsoft.com/office/drawing/2014/main" id="{6C910C93-7862-FCEE-F966-3DB20287DAE9}"/>
              </a:ext>
            </a:extLst>
          </p:cNvPr>
          <p:cNvSpPr txBox="1"/>
          <p:nvPr/>
        </p:nvSpPr>
        <p:spPr>
          <a:xfrm>
            <a:off x="850900" y="1594280"/>
            <a:ext cx="2736647" cy="584775"/>
          </a:xfrm>
          <a:prstGeom prst="rect">
            <a:avLst/>
          </a:prstGeom>
          <a:noFill/>
        </p:spPr>
        <p:txBody>
          <a:bodyPr wrap="none" rtlCol="0">
            <a:spAutoFit/>
          </a:bodyPr>
          <a:lstStyle/>
          <a:p>
            <a:r>
              <a:rPr kumimoji="1" lang="en-US" altLang="zh-CN" sz="1600" dirty="0"/>
              <a:t>Dataset: </a:t>
            </a:r>
            <a:r>
              <a:rPr kumimoji="1" lang="en-US" altLang="zh-CN" sz="1600" dirty="0" err="1"/>
              <a:t>FashionMnist</a:t>
            </a:r>
            <a:endParaRPr kumimoji="1" lang="en-US" altLang="zh-CN" sz="1600" dirty="0"/>
          </a:p>
          <a:p>
            <a:r>
              <a:rPr kumimoji="1" lang="en-US" altLang="zh-CN" sz="1600" dirty="0"/>
              <a:t>Original size: 1*28*28 pixels</a:t>
            </a:r>
            <a:endParaRPr kumimoji="1" lang="zh-CN" altLang="en-US" sz="1600" dirty="0"/>
          </a:p>
        </p:txBody>
      </p:sp>
      <p:sp>
        <p:nvSpPr>
          <p:cNvPr id="10" name="文本框 9">
            <a:extLst>
              <a:ext uri="{FF2B5EF4-FFF2-40B4-BE49-F238E27FC236}">
                <a16:creationId xmlns:a16="http://schemas.microsoft.com/office/drawing/2014/main" id="{28C46620-AC3C-D77D-C11F-C78541940C44}"/>
              </a:ext>
            </a:extLst>
          </p:cNvPr>
          <p:cNvSpPr txBox="1"/>
          <p:nvPr/>
        </p:nvSpPr>
        <p:spPr>
          <a:xfrm>
            <a:off x="850900" y="2176472"/>
            <a:ext cx="2303836" cy="338554"/>
          </a:xfrm>
          <a:prstGeom prst="rect">
            <a:avLst/>
          </a:prstGeom>
          <a:noFill/>
        </p:spPr>
        <p:txBody>
          <a:bodyPr wrap="none" rtlCol="0">
            <a:spAutoFit/>
          </a:bodyPr>
          <a:lstStyle/>
          <a:p>
            <a:r>
              <a:rPr kumimoji="1" lang="en-US" altLang="zh-CN" sz="1600" dirty="0"/>
              <a:t>Deep Learning Models:</a:t>
            </a:r>
            <a:endParaRPr kumimoji="1" lang="zh-CN" altLang="en-US" sz="1600" dirty="0"/>
          </a:p>
        </p:txBody>
      </p:sp>
      <p:sp>
        <p:nvSpPr>
          <p:cNvPr id="11" name="文本框 10">
            <a:extLst>
              <a:ext uri="{FF2B5EF4-FFF2-40B4-BE49-F238E27FC236}">
                <a16:creationId xmlns:a16="http://schemas.microsoft.com/office/drawing/2014/main" id="{8BA0510D-4C9E-C454-2CFF-0F8E749605B3}"/>
              </a:ext>
            </a:extLst>
          </p:cNvPr>
          <p:cNvSpPr txBox="1"/>
          <p:nvPr/>
        </p:nvSpPr>
        <p:spPr>
          <a:xfrm>
            <a:off x="1967568" y="2984979"/>
            <a:ext cx="673582" cy="307777"/>
          </a:xfrm>
          <a:prstGeom prst="rect">
            <a:avLst/>
          </a:prstGeom>
          <a:noFill/>
        </p:spPr>
        <p:txBody>
          <a:bodyPr wrap="none" rtlCol="0">
            <a:spAutoFit/>
          </a:bodyPr>
          <a:lstStyle/>
          <a:p>
            <a:r>
              <a:rPr kumimoji="1" lang="en-US" altLang="zh-CN" sz="1400" dirty="0"/>
              <a:t>MACs</a:t>
            </a:r>
            <a:endParaRPr kumimoji="1" lang="zh-CN" altLang="en-US" sz="1400" dirty="0"/>
          </a:p>
        </p:txBody>
      </p:sp>
      <p:sp>
        <p:nvSpPr>
          <p:cNvPr id="12" name="文本框 11">
            <a:extLst>
              <a:ext uri="{FF2B5EF4-FFF2-40B4-BE49-F238E27FC236}">
                <a16:creationId xmlns:a16="http://schemas.microsoft.com/office/drawing/2014/main" id="{548DDF77-0C5A-1878-7997-68AD8DAE344E}"/>
              </a:ext>
            </a:extLst>
          </p:cNvPr>
          <p:cNvSpPr txBox="1"/>
          <p:nvPr/>
        </p:nvSpPr>
        <p:spPr>
          <a:xfrm>
            <a:off x="669924" y="3339895"/>
            <a:ext cx="2044149" cy="307777"/>
          </a:xfrm>
          <a:prstGeom prst="rect">
            <a:avLst/>
          </a:prstGeom>
          <a:noFill/>
        </p:spPr>
        <p:txBody>
          <a:bodyPr wrap="none" rtlCol="0">
            <a:spAutoFit/>
          </a:bodyPr>
          <a:lstStyle/>
          <a:p>
            <a:r>
              <a:rPr kumimoji="1" lang="en-US" altLang="zh-CN" sz="1400" dirty="0"/>
              <a:t>Number of Parameters</a:t>
            </a:r>
          </a:p>
        </p:txBody>
      </p:sp>
      <p:sp>
        <p:nvSpPr>
          <p:cNvPr id="16" name="文本框 15">
            <a:extLst>
              <a:ext uri="{FF2B5EF4-FFF2-40B4-BE49-F238E27FC236}">
                <a16:creationId xmlns:a16="http://schemas.microsoft.com/office/drawing/2014/main" id="{9A96ED30-44EE-CE5D-6158-640F0A9EA18E}"/>
              </a:ext>
            </a:extLst>
          </p:cNvPr>
          <p:cNvSpPr txBox="1"/>
          <p:nvPr/>
        </p:nvSpPr>
        <p:spPr>
          <a:xfrm>
            <a:off x="863140" y="3732721"/>
            <a:ext cx="1826141" cy="307777"/>
          </a:xfrm>
          <a:prstGeom prst="rect">
            <a:avLst/>
          </a:prstGeom>
          <a:noFill/>
        </p:spPr>
        <p:txBody>
          <a:bodyPr wrap="none" rtlCol="0">
            <a:spAutoFit/>
          </a:bodyPr>
          <a:lstStyle/>
          <a:p>
            <a:r>
              <a:rPr kumimoji="1" lang="en-US" altLang="zh-CN" sz="1400" dirty="0"/>
              <a:t>Energy of 10 epochs</a:t>
            </a:r>
            <a:endParaRPr kumimoji="1" lang="zh-CN" altLang="en-US" sz="1400" dirty="0"/>
          </a:p>
        </p:txBody>
      </p:sp>
      <p:sp>
        <p:nvSpPr>
          <p:cNvPr id="17" name="文本框 16">
            <a:extLst>
              <a:ext uri="{FF2B5EF4-FFF2-40B4-BE49-F238E27FC236}">
                <a16:creationId xmlns:a16="http://schemas.microsoft.com/office/drawing/2014/main" id="{EDDB3BF2-9D02-3862-036F-A0F09AFDDAFE}"/>
              </a:ext>
            </a:extLst>
          </p:cNvPr>
          <p:cNvSpPr txBox="1"/>
          <p:nvPr/>
        </p:nvSpPr>
        <p:spPr>
          <a:xfrm>
            <a:off x="1035438" y="4088164"/>
            <a:ext cx="1649554" cy="307777"/>
          </a:xfrm>
          <a:prstGeom prst="rect">
            <a:avLst/>
          </a:prstGeom>
          <a:noFill/>
        </p:spPr>
        <p:txBody>
          <a:bodyPr wrap="none" rtlCol="0">
            <a:spAutoFit/>
          </a:bodyPr>
          <a:lstStyle/>
          <a:p>
            <a:r>
              <a:rPr kumimoji="1" lang="en-US" altLang="zh-CN" sz="1400" dirty="0"/>
              <a:t>Time of 10 epochs</a:t>
            </a:r>
            <a:endParaRPr kumimoji="1" lang="zh-CN" altLang="en-US" sz="1400" dirty="0"/>
          </a:p>
        </p:txBody>
      </p:sp>
      <p:sp>
        <p:nvSpPr>
          <p:cNvPr id="19" name="文本框 18">
            <a:extLst>
              <a:ext uri="{FF2B5EF4-FFF2-40B4-BE49-F238E27FC236}">
                <a16:creationId xmlns:a16="http://schemas.microsoft.com/office/drawing/2014/main" id="{61B2F712-A21C-383C-D917-0A4A9CD7CC72}"/>
              </a:ext>
            </a:extLst>
          </p:cNvPr>
          <p:cNvSpPr txBox="1"/>
          <p:nvPr/>
        </p:nvSpPr>
        <p:spPr>
          <a:xfrm>
            <a:off x="743015" y="4839119"/>
            <a:ext cx="1935145" cy="307777"/>
          </a:xfrm>
          <a:prstGeom prst="rect">
            <a:avLst/>
          </a:prstGeom>
          <a:noFill/>
        </p:spPr>
        <p:txBody>
          <a:bodyPr wrap="none" rtlCol="0">
            <a:spAutoFit/>
          </a:bodyPr>
          <a:lstStyle/>
          <a:p>
            <a:r>
              <a:rPr kumimoji="1" lang="en-US" altLang="zh-CN" sz="1400" dirty="0"/>
              <a:t>Final reached test acc</a:t>
            </a:r>
            <a:endParaRPr kumimoji="1" lang="zh-CN" altLang="en-US" sz="1400" dirty="0"/>
          </a:p>
        </p:txBody>
      </p:sp>
      <p:sp>
        <p:nvSpPr>
          <p:cNvPr id="20" name="文本框 19">
            <a:extLst>
              <a:ext uri="{FF2B5EF4-FFF2-40B4-BE49-F238E27FC236}">
                <a16:creationId xmlns:a16="http://schemas.microsoft.com/office/drawing/2014/main" id="{38897BA4-1E55-FF90-39CC-10A89BD49B24}"/>
              </a:ext>
            </a:extLst>
          </p:cNvPr>
          <p:cNvSpPr txBox="1"/>
          <p:nvPr/>
        </p:nvSpPr>
        <p:spPr>
          <a:xfrm>
            <a:off x="679515" y="4469007"/>
            <a:ext cx="1994457" cy="307777"/>
          </a:xfrm>
          <a:prstGeom prst="rect">
            <a:avLst/>
          </a:prstGeom>
          <a:noFill/>
        </p:spPr>
        <p:txBody>
          <a:bodyPr wrap="none" rtlCol="0">
            <a:spAutoFit/>
          </a:bodyPr>
          <a:lstStyle/>
          <a:p>
            <a:r>
              <a:rPr kumimoji="1" lang="en-US" altLang="zh-CN" sz="1400" dirty="0"/>
              <a:t>Final reached train acc</a:t>
            </a:r>
            <a:endParaRPr kumimoji="1" lang="zh-CN" altLang="en-US" sz="1400" dirty="0"/>
          </a:p>
        </p:txBody>
      </p:sp>
      <p:sp>
        <p:nvSpPr>
          <p:cNvPr id="21" name="文本框 20">
            <a:extLst>
              <a:ext uri="{FF2B5EF4-FFF2-40B4-BE49-F238E27FC236}">
                <a16:creationId xmlns:a16="http://schemas.microsoft.com/office/drawing/2014/main" id="{B79F08F6-A3DD-B835-B810-6DE3ADFC1EE3}"/>
              </a:ext>
            </a:extLst>
          </p:cNvPr>
          <p:cNvSpPr txBox="1"/>
          <p:nvPr/>
        </p:nvSpPr>
        <p:spPr>
          <a:xfrm>
            <a:off x="492124" y="5995251"/>
            <a:ext cx="5514651" cy="461665"/>
          </a:xfrm>
          <a:prstGeom prst="rect">
            <a:avLst/>
          </a:prstGeom>
          <a:noFill/>
        </p:spPr>
        <p:txBody>
          <a:bodyPr wrap="none" rtlCol="0">
            <a:spAutoFit/>
          </a:bodyPr>
          <a:lstStyle/>
          <a:p>
            <a:r>
              <a:rPr kumimoji="1" lang="en-US" altLang="zh-CN" sz="1200" dirty="0"/>
              <a:t>MACs(Multiply-Accumulate Operations)</a:t>
            </a:r>
          </a:p>
          <a:p>
            <a:r>
              <a:rPr kumimoji="1" lang="en-US" altLang="zh-CN" sz="1200" dirty="0"/>
              <a:t>The unit for measuring the computational complexity of a deep learning model </a:t>
            </a:r>
            <a:endParaRPr kumimoji="1" lang="zh-CN" altLang="en-US" sz="1200" dirty="0"/>
          </a:p>
        </p:txBody>
      </p:sp>
      <p:sp>
        <p:nvSpPr>
          <p:cNvPr id="22" name="文本框 21">
            <a:extLst>
              <a:ext uri="{FF2B5EF4-FFF2-40B4-BE49-F238E27FC236}">
                <a16:creationId xmlns:a16="http://schemas.microsoft.com/office/drawing/2014/main" id="{B0E1B6F7-54DE-5BFE-1D60-4C0FA3885C14}"/>
              </a:ext>
            </a:extLst>
          </p:cNvPr>
          <p:cNvSpPr txBox="1"/>
          <p:nvPr/>
        </p:nvSpPr>
        <p:spPr>
          <a:xfrm>
            <a:off x="3015140" y="5152671"/>
            <a:ext cx="7604774" cy="276999"/>
          </a:xfrm>
          <a:prstGeom prst="rect">
            <a:avLst/>
          </a:prstGeom>
          <a:noFill/>
        </p:spPr>
        <p:txBody>
          <a:bodyPr wrap="none" rtlCol="0">
            <a:spAutoFit/>
          </a:bodyPr>
          <a:lstStyle/>
          <a:p>
            <a:r>
              <a:rPr kumimoji="1" lang="en-US" altLang="zh-CN" sz="1200" dirty="0"/>
              <a:t>The energy, time, final reached train acc and test acc results are the averaged valued of 10 rounds simulation</a:t>
            </a:r>
            <a:endParaRPr kumimoji="1" lang="zh-CN" altLang="en-US" sz="1200" dirty="0"/>
          </a:p>
        </p:txBody>
      </p:sp>
      <p:sp>
        <p:nvSpPr>
          <p:cNvPr id="8" name="文本框 7">
            <a:extLst>
              <a:ext uri="{FF2B5EF4-FFF2-40B4-BE49-F238E27FC236}">
                <a16:creationId xmlns:a16="http://schemas.microsoft.com/office/drawing/2014/main" id="{BBF64E86-D2BA-04D5-24FC-18E18D388A85}"/>
              </a:ext>
            </a:extLst>
          </p:cNvPr>
          <p:cNvSpPr txBox="1"/>
          <p:nvPr/>
        </p:nvSpPr>
        <p:spPr>
          <a:xfrm>
            <a:off x="831915" y="1122790"/>
            <a:ext cx="8815234" cy="369332"/>
          </a:xfrm>
          <a:prstGeom prst="rect">
            <a:avLst/>
          </a:prstGeom>
          <a:noFill/>
        </p:spPr>
        <p:txBody>
          <a:bodyPr wrap="none" rtlCol="0">
            <a:spAutoFit/>
          </a:bodyPr>
          <a:lstStyle/>
          <a:p>
            <a:r>
              <a:rPr kumimoji="1" lang="en-US" altLang="zh-CN" dirty="0"/>
              <a:t>Get data through various simulations to build model for calculate power consumption</a:t>
            </a:r>
            <a:endParaRPr kumimoji="1" lang="zh-CN" altLang="en-US" dirty="0"/>
          </a:p>
        </p:txBody>
      </p:sp>
    </p:spTree>
    <p:extLst>
      <p:ext uri="{BB962C8B-B14F-4D97-AF65-F5344CB8AC3E}">
        <p14:creationId xmlns:p14="http://schemas.microsoft.com/office/powerpoint/2010/main" val="2564151551"/>
      </p:ext>
    </p:extLst>
  </p:cSld>
  <p:clrMapOvr>
    <a:masterClrMapping/>
  </p:clrMapOvr>
  <p:transition>
    <p:dissolv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DBB6A7-DB0E-99DB-C068-4B096CCDDD67}"/>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CCA8CA4C-58F0-E49E-AFA4-6AE09914C29E}"/>
              </a:ext>
            </a:extLst>
          </p:cNvPr>
          <p:cNvSpPr>
            <a:spLocks noGrp="1"/>
          </p:cNvSpPr>
          <p:nvPr>
            <p:ph type="title"/>
          </p:nvPr>
        </p:nvSpPr>
        <p:spPr/>
        <p:txBody>
          <a:bodyPr/>
          <a:lstStyle/>
          <a:p>
            <a:r>
              <a:rPr lang="en-US" altLang="zh-CN" dirty="0"/>
              <a:t>Time consumption of each part of simulation</a:t>
            </a:r>
            <a:endParaRPr lang="zh-CN" altLang="en-US" dirty="0"/>
          </a:p>
        </p:txBody>
      </p:sp>
      <p:sp>
        <p:nvSpPr>
          <p:cNvPr id="3" name="灯片编号占位符 2">
            <a:extLst>
              <a:ext uri="{FF2B5EF4-FFF2-40B4-BE49-F238E27FC236}">
                <a16:creationId xmlns:a16="http://schemas.microsoft.com/office/drawing/2014/main" id="{BBFEE050-74D3-A695-E68A-2CD1E070569A}"/>
              </a:ext>
            </a:extLst>
          </p:cNvPr>
          <p:cNvSpPr>
            <a:spLocks noGrp="1"/>
          </p:cNvSpPr>
          <p:nvPr>
            <p:ph type="sldNum" sz="quarter" idx="12"/>
          </p:nvPr>
        </p:nvSpPr>
        <p:spPr/>
        <p:txBody>
          <a:bodyPr/>
          <a:lstStyle/>
          <a:p>
            <a:fld id="{5DD3DB80-B894-403A-B48E-6FDC1A72010E}" type="slidenum">
              <a:rPr lang="zh-CN" altLang="en-US" smtClean="0"/>
              <a:t>3</a:t>
            </a:fld>
            <a:endParaRPr lang="zh-CN" altLang="en-US"/>
          </a:p>
        </p:txBody>
      </p:sp>
      <p:pic>
        <p:nvPicPr>
          <p:cNvPr id="4" name="Google Shape;64;p1" descr="徽标&#10;&#10;描述已自动生成">
            <a:extLst>
              <a:ext uri="{FF2B5EF4-FFF2-40B4-BE49-F238E27FC236}">
                <a16:creationId xmlns:a16="http://schemas.microsoft.com/office/drawing/2014/main" id="{76087F4A-9D37-19C6-BA2D-7F017F9F4281}"/>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30607FE8-33A7-51FD-4C9E-6BCEDA3726BA}"/>
              </a:ext>
            </a:extLst>
          </p:cNvPr>
          <p:cNvSpPr txBox="1"/>
          <p:nvPr/>
        </p:nvSpPr>
        <p:spPr>
          <a:xfrm>
            <a:off x="496710" y="1152226"/>
            <a:ext cx="782587" cy="307777"/>
          </a:xfrm>
          <a:prstGeom prst="rect">
            <a:avLst/>
          </a:prstGeom>
          <a:noFill/>
        </p:spPr>
        <p:txBody>
          <a:bodyPr wrap="none" rtlCol="0">
            <a:spAutoFit/>
          </a:bodyPr>
          <a:lstStyle/>
          <a:p>
            <a:r>
              <a:rPr kumimoji="1" lang="en-US" altLang="zh-CN" sz="1400" dirty="0" err="1"/>
              <a:t>Alexnet</a:t>
            </a:r>
            <a:endParaRPr kumimoji="1" lang="zh-CN" altLang="en-US" sz="1400" dirty="0"/>
          </a:p>
        </p:txBody>
      </p:sp>
      <p:sp>
        <p:nvSpPr>
          <p:cNvPr id="7" name="文本框 6">
            <a:extLst>
              <a:ext uri="{FF2B5EF4-FFF2-40B4-BE49-F238E27FC236}">
                <a16:creationId xmlns:a16="http://schemas.microsoft.com/office/drawing/2014/main" id="{C59DE8D0-8B00-D0EB-AC56-C9E6EABA1E75}"/>
              </a:ext>
            </a:extLst>
          </p:cNvPr>
          <p:cNvSpPr txBox="1"/>
          <p:nvPr/>
        </p:nvSpPr>
        <p:spPr>
          <a:xfrm>
            <a:off x="450737" y="3991837"/>
            <a:ext cx="828560" cy="307777"/>
          </a:xfrm>
          <a:prstGeom prst="rect">
            <a:avLst/>
          </a:prstGeom>
          <a:noFill/>
        </p:spPr>
        <p:txBody>
          <a:bodyPr wrap="none" rtlCol="0">
            <a:spAutoFit/>
          </a:bodyPr>
          <a:lstStyle/>
          <a:p>
            <a:r>
              <a:rPr kumimoji="1" lang="en-US" altLang="zh-CN" sz="1400" dirty="0"/>
              <a:t>VGG-11</a:t>
            </a:r>
            <a:endParaRPr kumimoji="1" lang="zh-CN" altLang="en-US" sz="1400" dirty="0"/>
          </a:p>
        </p:txBody>
      </p:sp>
      <p:sp>
        <p:nvSpPr>
          <p:cNvPr id="8" name="文本框 7">
            <a:extLst>
              <a:ext uri="{FF2B5EF4-FFF2-40B4-BE49-F238E27FC236}">
                <a16:creationId xmlns:a16="http://schemas.microsoft.com/office/drawing/2014/main" id="{B29AE54D-256A-4DAC-D6C3-31D2072A7A7D}"/>
              </a:ext>
            </a:extLst>
          </p:cNvPr>
          <p:cNvSpPr txBox="1"/>
          <p:nvPr/>
        </p:nvSpPr>
        <p:spPr>
          <a:xfrm>
            <a:off x="5671054" y="1150661"/>
            <a:ext cx="1010213" cy="307777"/>
          </a:xfrm>
          <a:prstGeom prst="rect">
            <a:avLst/>
          </a:prstGeom>
          <a:noFill/>
        </p:spPr>
        <p:txBody>
          <a:bodyPr wrap="none" rtlCol="0">
            <a:spAutoFit/>
          </a:bodyPr>
          <a:lstStyle/>
          <a:p>
            <a:r>
              <a:rPr kumimoji="1" lang="en-US" altLang="zh-CN" sz="1400" dirty="0"/>
              <a:t>Resnet-18</a:t>
            </a:r>
          </a:p>
        </p:txBody>
      </p:sp>
      <p:pic>
        <p:nvPicPr>
          <p:cNvPr id="13" name="图片 12">
            <a:extLst>
              <a:ext uri="{FF2B5EF4-FFF2-40B4-BE49-F238E27FC236}">
                <a16:creationId xmlns:a16="http://schemas.microsoft.com/office/drawing/2014/main" id="{FEA50B1C-4351-4EDB-4D9A-E50EDC7080BB}"/>
              </a:ext>
            </a:extLst>
          </p:cNvPr>
          <p:cNvPicPr>
            <a:picLocks noChangeAspect="1"/>
          </p:cNvPicPr>
          <p:nvPr/>
        </p:nvPicPr>
        <p:blipFill>
          <a:blip r:embed="rId4"/>
          <a:stretch>
            <a:fillRect/>
          </a:stretch>
        </p:blipFill>
        <p:spPr>
          <a:xfrm>
            <a:off x="5985612" y="1503767"/>
            <a:ext cx="2211064" cy="1649524"/>
          </a:xfrm>
          <a:prstGeom prst="rect">
            <a:avLst/>
          </a:prstGeom>
        </p:spPr>
      </p:pic>
      <p:pic>
        <p:nvPicPr>
          <p:cNvPr id="14" name="图片 13">
            <a:extLst>
              <a:ext uri="{FF2B5EF4-FFF2-40B4-BE49-F238E27FC236}">
                <a16:creationId xmlns:a16="http://schemas.microsoft.com/office/drawing/2014/main" id="{B46AEE26-0E71-AE4E-3DB2-69D870FD8C57}"/>
              </a:ext>
            </a:extLst>
          </p:cNvPr>
          <p:cNvPicPr>
            <a:picLocks noChangeAspect="1"/>
          </p:cNvPicPr>
          <p:nvPr/>
        </p:nvPicPr>
        <p:blipFill>
          <a:blip r:embed="rId5"/>
          <a:stretch>
            <a:fillRect/>
          </a:stretch>
        </p:blipFill>
        <p:spPr>
          <a:xfrm>
            <a:off x="450737" y="1589045"/>
            <a:ext cx="2110868" cy="1574775"/>
          </a:xfrm>
          <a:prstGeom prst="rect">
            <a:avLst/>
          </a:prstGeom>
        </p:spPr>
      </p:pic>
      <p:pic>
        <p:nvPicPr>
          <p:cNvPr id="18" name="图片 17">
            <a:extLst>
              <a:ext uri="{FF2B5EF4-FFF2-40B4-BE49-F238E27FC236}">
                <a16:creationId xmlns:a16="http://schemas.microsoft.com/office/drawing/2014/main" id="{830EAF34-0C03-8CCC-04F6-5FD297F785FB}"/>
              </a:ext>
            </a:extLst>
          </p:cNvPr>
          <p:cNvPicPr>
            <a:picLocks noChangeAspect="1"/>
          </p:cNvPicPr>
          <p:nvPr/>
        </p:nvPicPr>
        <p:blipFill>
          <a:blip r:embed="rId6"/>
          <a:stretch>
            <a:fillRect/>
          </a:stretch>
        </p:blipFill>
        <p:spPr>
          <a:xfrm>
            <a:off x="450738" y="4383548"/>
            <a:ext cx="2110868" cy="1574775"/>
          </a:xfrm>
          <a:prstGeom prst="rect">
            <a:avLst/>
          </a:prstGeom>
        </p:spPr>
      </p:pic>
      <p:pic>
        <p:nvPicPr>
          <p:cNvPr id="23" name="图片 22">
            <a:extLst>
              <a:ext uri="{FF2B5EF4-FFF2-40B4-BE49-F238E27FC236}">
                <a16:creationId xmlns:a16="http://schemas.microsoft.com/office/drawing/2014/main" id="{257C13FA-1AFB-43CE-A67A-2BE87CF850BB}"/>
              </a:ext>
            </a:extLst>
          </p:cNvPr>
          <p:cNvPicPr>
            <a:picLocks noChangeAspect="1"/>
          </p:cNvPicPr>
          <p:nvPr/>
        </p:nvPicPr>
        <p:blipFill>
          <a:blip r:embed="rId7"/>
          <a:stretch>
            <a:fillRect/>
          </a:stretch>
        </p:blipFill>
        <p:spPr>
          <a:xfrm>
            <a:off x="2829746" y="1653048"/>
            <a:ext cx="2354644" cy="1350962"/>
          </a:xfrm>
          <a:prstGeom prst="rect">
            <a:avLst/>
          </a:prstGeom>
        </p:spPr>
      </p:pic>
      <p:pic>
        <p:nvPicPr>
          <p:cNvPr id="24" name="图片 23">
            <a:extLst>
              <a:ext uri="{FF2B5EF4-FFF2-40B4-BE49-F238E27FC236}">
                <a16:creationId xmlns:a16="http://schemas.microsoft.com/office/drawing/2014/main" id="{BAAA7750-C480-DA4B-98A6-537A27C43D53}"/>
              </a:ext>
            </a:extLst>
          </p:cNvPr>
          <p:cNvPicPr>
            <a:picLocks noChangeAspect="1"/>
          </p:cNvPicPr>
          <p:nvPr/>
        </p:nvPicPr>
        <p:blipFill>
          <a:blip r:embed="rId8"/>
          <a:stretch>
            <a:fillRect/>
          </a:stretch>
        </p:blipFill>
        <p:spPr>
          <a:xfrm>
            <a:off x="8973763" y="1653050"/>
            <a:ext cx="2354640" cy="1350960"/>
          </a:xfrm>
          <a:prstGeom prst="rect">
            <a:avLst/>
          </a:prstGeom>
        </p:spPr>
      </p:pic>
      <p:pic>
        <p:nvPicPr>
          <p:cNvPr id="25" name="图片 24">
            <a:extLst>
              <a:ext uri="{FF2B5EF4-FFF2-40B4-BE49-F238E27FC236}">
                <a16:creationId xmlns:a16="http://schemas.microsoft.com/office/drawing/2014/main" id="{1DD0FCF6-95A7-814A-3E95-82F83648EC57}"/>
              </a:ext>
            </a:extLst>
          </p:cNvPr>
          <p:cNvPicPr>
            <a:picLocks noChangeAspect="1"/>
          </p:cNvPicPr>
          <p:nvPr/>
        </p:nvPicPr>
        <p:blipFill>
          <a:blip r:embed="rId9"/>
          <a:stretch>
            <a:fillRect/>
          </a:stretch>
        </p:blipFill>
        <p:spPr>
          <a:xfrm>
            <a:off x="2829746" y="4368498"/>
            <a:ext cx="2446479" cy="1403652"/>
          </a:xfrm>
          <a:prstGeom prst="rect">
            <a:avLst/>
          </a:prstGeom>
        </p:spPr>
      </p:pic>
      <p:cxnSp>
        <p:nvCxnSpPr>
          <p:cNvPr id="27" name="直线连接符 26">
            <a:extLst>
              <a:ext uri="{FF2B5EF4-FFF2-40B4-BE49-F238E27FC236}">
                <a16:creationId xmlns:a16="http://schemas.microsoft.com/office/drawing/2014/main" id="{688F1710-1AA3-F7DA-BC9A-530987BBB279}"/>
              </a:ext>
            </a:extLst>
          </p:cNvPr>
          <p:cNvCxnSpPr>
            <a:cxnSpLocks/>
          </p:cNvCxnSpPr>
          <p:nvPr/>
        </p:nvCxnSpPr>
        <p:spPr>
          <a:xfrm flipV="1">
            <a:off x="5510734" y="1142484"/>
            <a:ext cx="0" cy="4989006"/>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直线连接符 27">
            <a:extLst>
              <a:ext uri="{FF2B5EF4-FFF2-40B4-BE49-F238E27FC236}">
                <a16:creationId xmlns:a16="http://schemas.microsoft.com/office/drawing/2014/main" id="{228712B2-200D-B14F-B0B2-A6D127B38157}"/>
              </a:ext>
            </a:extLst>
          </p:cNvPr>
          <p:cNvCxnSpPr>
            <a:cxnSpLocks/>
          </p:cNvCxnSpPr>
          <p:nvPr/>
        </p:nvCxnSpPr>
        <p:spPr>
          <a:xfrm flipH="1">
            <a:off x="450737" y="3724166"/>
            <a:ext cx="11069750" cy="0"/>
          </a:xfrm>
          <a:prstGeom prst="line">
            <a:avLst/>
          </a:prstGeom>
        </p:spPr>
        <p:style>
          <a:lnRef idx="1">
            <a:schemeClr val="accent1"/>
          </a:lnRef>
          <a:fillRef idx="0">
            <a:schemeClr val="accent1"/>
          </a:fillRef>
          <a:effectRef idx="0">
            <a:schemeClr val="accent1"/>
          </a:effectRef>
          <a:fontRef idx="minor">
            <a:schemeClr val="tx1"/>
          </a:fontRef>
        </p:style>
      </p:cxnSp>
      <p:sp>
        <p:nvSpPr>
          <p:cNvPr id="9" name="文本框 8">
            <a:extLst>
              <a:ext uri="{FF2B5EF4-FFF2-40B4-BE49-F238E27FC236}">
                <a16:creationId xmlns:a16="http://schemas.microsoft.com/office/drawing/2014/main" id="{0F0CF19B-A9AC-BC51-A4E2-B9F1D8D651A8}"/>
              </a:ext>
            </a:extLst>
          </p:cNvPr>
          <p:cNvSpPr txBox="1"/>
          <p:nvPr/>
        </p:nvSpPr>
        <p:spPr>
          <a:xfrm>
            <a:off x="5671053" y="3991836"/>
            <a:ext cx="1099981" cy="307777"/>
          </a:xfrm>
          <a:prstGeom prst="rect">
            <a:avLst/>
          </a:prstGeom>
          <a:noFill/>
        </p:spPr>
        <p:txBody>
          <a:bodyPr wrap="none" rtlCol="0">
            <a:spAutoFit/>
          </a:bodyPr>
          <a:lstStyle/>
          <a:p>
            <a:r>
              <a:rPr kumimoji="1" lang="en-US" altLang="zh-CN" sz="1400" dirty="0" err="1"/>
              <a:t>GoogLeNet</a:t>
            </a:r>
            <a:endParaRPr kumimoji="1" lang="en-US" altLang="zh-CN" sz="1400" dirty="0"/>
          </a:p>
        </p:txBody>
      </p:sp>
      <p:pic>
        <p:nvPicPr>
          <p:cNvPr id="10" name="图片 9">
            <a:extLst>
              <a:ext uri="{FF2B5EF4-FFF2-40B4-BE49-F238E27FC236}">
                <a16:creationId xmlns:a16="http://schemas.microsoft.com/office/drawing/2014/main" id="{B53F260F-1CB5-1ECE-66A7-BF563BD0F03E}"/>
              </a:ext>
            </a:extLst>
          </p:cNvPr>
          <p:cNvPicPr>
            <a:picLocks noChangeAspect="1"/>
          </p:cNvPicPr>
          <p:nvPr/>
        </p:nvPicPr>
        <p:blipFill>
          <a:blip r:embed="rId10"/>
          <a:stretch>
            <a:fillRect/>
          </a:stretch>
        </p:blipFill>
        <p:spPr>
          <a:xfrm>
            <a:off x="5900974" y="4303905"/>
            <a:ext cx="2324379" cy="1734060"/>
          </a:xfrm>
          <a:prstGeom prst="rect">
            <a:avLst/>
          </a:prstGeom>
        </p:spPr>
      </p:pic>
      <p:pic>
        <p:nvPicPr>
          <p:cNvPr id="11" name="图片 10">
            <a:extLst>
              <a:ext uri="{FF2B5EF4-FFF2-40B4-BE49-F238E27FC236}">
                <a16:creationId xmlns:a16="http://schemas.microsoft.com/office/drawing/2014/main" id="{2388ADD0-EE16-E656-7443-BF0E2A3163BD}"/>
              </a:ext>
            </a:extLst>
          </p:cNvPr>
          <p:cNvPicPr>
            <a:picLocks noChangeAspect="1"/>
          </p:cNvPicPr>
          <p:nvPr/>
        </p:nvPicPr>
        <p:blipFill>
          <a:blip r:embed="rId11"/>
          <a:stretch>
            <a:fillRect/>
          </a:stretch>
        </p:blipFill>
        <p:spPr>
          <a:xfrm>
            <a:off x="8973763" y="4444323"/>
            <a:ext cx="2354640" cy="1342258"/>
          </a:xfrm>
          <a:prstGeom prst="rect">
            <a:avLst/>
          </a:prstGeom>
        </p:spPr>
      </p:pic>
    </p:spTree>
    <p:extLst>
      <p:ext uri="{BB962C8B-B14F-4D97-AF65-F5344CB8AC3E}">
        <p14:creationId xmlns:p14="http://schemas.microsoft.com/office/powerpoint/2010/main" val="1416375827"/>
      </p:ext>
    </p:extLst>
  </p:cSld>
  <p:clrMapOvr>
    <a:masterClrMapping/>
  </p:clrMapOvr>
  <p:transition>
    <p:dissolv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29CAEC-9DD6-56DC-6C97-36F968D47D71}"/>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C70B4553-4070-E803-8D77-51D08DE7CAA9}"/>
              </a:ext>
            </a:extLst>
          </p:cNvPr>
          <p:cNvSpPr>
            <a:spLocks noGrp="1"/>
          </p:cNvSpPr>
          <p:nvPr>
            <p:ph type="title"/>
          </p:nvPr>
        </p:nvSpPr>
        <p:spPr/>
        <p:txBody>
          <a:bodyPr/>
          <a:lstStyle/>
          <a:p>
            <a:r>
              <a:rPr lang="en-US" altLang="zh-CN" dirty="0"/>
              <a:t>Average time &amp; energy consumption, train &amp; test acc</a:t>
            </a:r>
            <a:endParaRPr lang="zh-CN" altLang="en-US" dirty="0"/>
          </a:p>
        </p:txBody>
      </p:sp>
      <p:sp>
        <p:nvSpPr>
          <p:cNvPr id="3" name="灯片编号占位符 2">
            <a:extLst>
              <a:ext uri="{FF2B5EF4-FFF2-40B4-BE49-F238E27FC236}">
                <a16:creationId xmlns:a16="http://schemas.microsoft.com/office/drawing/2014/main" id="{2F880E80-5814-A75D-241E-21A017B56832}"/>
              </a:ext>
            </a:extLst>
          </p:cNvPr>
          <p:cNvSpPr>
            <a:spLocks noGrp="1"/>
          </p:cNvSpPr>
          <p:nvPr>
            <p:ph type="sldNum" sz="quarter" idx="12"/>
          </p:nvPr>
        </p:nvSpPr>
        <p:spPr/>
        <p:txBody>
          <a:bodyPr/>
          <a:lstStyle/>
          <a:p>
            <a:fld id="{5DD3DB80-B894-403A-B48E-6FDC1A72010E}" type="slidenum">
              <a:rPr lang="zh-CN" altLang="en-US" smtClean="0"/>
              <a:t>4</a:t>
            </a:fld>
            <a:endParaRPr lang="zh-CN" altLang="en-US"/>
          </a:p>
        </p:txBody>
      </p:sp>
      <p:pic>
        <p:nvPicPr>
          <p:cNvPr id="4" name="Google Shape;64;p1" descr="徽标&#10;&#10;描述已自动生成">
            <a:extLst>
              <a:ext uri="{FF2B5EF4-FFF2-40B4-BE49-F238E27FC236}">
                <a16:creationId xmlns:a16="http://schemas.microsoft.com/office/drawing/2014/main" id="{F878434F-D533-F000-D191-155809822E3D}"/>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2" name="文本框 1">
            <a:extLst>
              <a:ext uri="{FF2B5EF4-FFF2-40B4-BE49-F238E27FC236}">
                <a16:creationId xmlns:a16="http://schemas.microsoft.com/office/drawing/2014/main" id="{59BD1133-34E2-7B35-9E22-CB94DE44F243}"/>
              </a:ext>
            </a:extLst>
          </p:cNvPr>
          <p:cNvSpPr txBox="1"/>
          <p:nvPr/>
        </p:nvSpPr>
        <p:spPr>
          <a:xfrm>
            <a:off x="890371" y="1277790"/>
            <a:ext cx="782587" cy="307777"/>
          </a:xfrm>
          <a:prstGeom prst="rect">
            <a:avLst/>
          </a:prstGeom>
          <a:noFill/>
        </p:spPr>
        <p:txBody>
          <a:bodyPr wrap="none" rtlCol="0">
            <a:spAutoFit/>
          </a:bodyPr>
          <a:lstStyle/>
          <a:p>
            <a:r>
              <a:rPr kumimoji="1" lang="en-US" altLang="zh-CN" sz="1400" dirty="0" err="1"/>
              <a:t>Alexnet</a:t>
            </a:r>
            <a:endParaRPr kumimoji="1" lang="zh-CN" altLang="en-US" sz="1400" dirty="0"/>
          </a:p>
        </p:txBody>
      </p:sp>
      <p:sp>
        <p:nvSpPr>
          <p:cNvPr id="7" name="文本框 6">
            <a:extLst>
              <a:ext uri="{FF2B5EF4-FFF2-40B4-BE49-F238E27FC236}">
                <a16:creationId xmlns:a16="http://schemas.microsoft.com/office/drawing/2014/main" id="{51046164-594B-17B5-90F5-748F88973D4B}"/>
              </a:ext>
            </a:extLst>
          </p:cNvPr>
          <p:cNvSpPr txBox="1"/>
          <p:nvPr/>
        </p:nvSpPr>
        <p:spPr>
          <a:xfrm>
            <a:off x="844398" y="4046156"/>
            <a:ext cx="828560" cy="307777"/>
          </a:xfrm>
          <a:prstGeom prst="rect">
            <a:avLst/>
          </a:prstGeom>
          <a:noFill/>
        </p:spPr>
        <p:txBody>
          <a:bodyPr wrap="none" rtlCol="0">
            <a:spAutoFit/>
          </a:bodyPr>
          <a:lstStyle/>
          <a:p>
            <a:r>
              <a:rPr kumimoji="1" lang="en-US" altLang="zh-CN" sz="1400" dirty="0"/>
              <a:t>VGG-11</a:t>
            </a:r>
            <a:endParaRPr kumimoji="1" lang="zh-CN" altLang="en-US" sz="1400" dirty="0"/>
          </a:p>
        </p:txBody>
      </p:sp>
      <p:sp>
        <p:nvSpPr>
          <p:cNvPr id="8" name="文本框 7">
            <a:extLst>
              <a:ext uri="{FF2B5EF4-FFF2-40B4-BE49-F238E27FC236}">
                <a16:creationId xmlns:a16="http://schemas.microsoft.com/office/drawing/2014/main" id="{CE1C3CC7-5419-87DD-14A6-FB247181DCF7}"/>
              </a:ext>
            </a:extLst>
          </p:cNvPr>
          <p:cNvSpPr txBox="1"/>
          <p:nvPr/>
        </p:nvSpPr>
        <p:spPr>
          <a:xfrm>
            <a:off x="6117772" y="1277790"/>
            <a:ext cx="1010213" cy="307777"/>
          </a:xfrm>
          <a:prstGeom prst="rect">
            <a:avLst/>
          </a:prstGeom>
          <a:noFill/>
        </p:spPr>
        <p:txBody>
          <a:bodyPr wrap="none" rtlCol="0">
            <a:spAutoFit/>
          </a:bodyPr>
          <a:lstStyle/>
          <a:p>
            <a:r>
              <a:rPr kumimoji="1" lang="en-US" altLang="zh-CN" sz="1400" dirty="0"/>
              <a:t>Resnet-18</a:t>
            </a:r>
          </a:p>
        </p:txBody>
      </p:sp>
      <p:cxnSp>
        <p:nvCxnSpPr>
          <p:cNvPr id="27" name="直线连接符 26">
            <a:extLst>
              <a:ext uri="{FF2B5EF4-FFF2-40B4-BE49-F238E27FC236}">
                <a16:creationId xmlns:a16="http://schemas.microsoft.com/office/drawing/2014/main" id="{3E0C66DB-6D2D-7AA6-8A8E-E61097AB6073}"/>
              </a:ext>
            </a:extLst>
          </p:cNvPr>
          <p:cNvCxnSpPr/>
          <p:nvPr/>
        </p:nvCxnSpPr>
        <p:spPr>
          <a:xfrm flipV="1">
            <a:off x="5836411" y="1098376"/>
            <a:ext cx="0" cy="5461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直线连接符 27">
            <a:extLst>
              <a:ext uri="{FF2B5EF4-FFF2-40B4-BE49-F238E27FC236}">
                <a16:creationId xmlns:a16="http://schemas.microsoft.com/office/drawing/2014/main" id="{6B6E3ED2-B6ED-861F-C1BA-DC8619BB4E72}"/>
              </a:ext>
            </a:extLst>
          </p:cNvPr>
          <p:cNvCxnSpPr>
            <a:cxnSpLocks/>
          </p:cNvCxnSpPr>
          <p:nvPr/>
        </p:nvCxnSpPr>
        <p:spPr>
          <a:xfrm flipH="1">
            <a:off x="465035" y="3739268"/>
            <a:ext cx="11177907" cy="0"/>
          </a:xfrm>
          <a:prstGeom prst="line">
            <a:avLst/>
          </a:prstGeom>
        </p:spPr>
        <p:style>
          <a:lnRef idx="1">
            <a:schemeClr val="accent1"/>
          </a:lnRef>
          <a:fillRef idx="0">
            <a:schemeClr val="accent1"/>
          </a:fillRef>
          <a:effectRef idx="0">
            <a:schemeClr val="accent1"/>
          </a:effectRef>
          <a:fontRef idx="minor">
            <a:schemeClr val="tx1"/>
          </a:fontRef>
        </p:style>
      </p:cxnSp>
      <p:pic>
        <p:nvPicPr>
          <p:cNvPr id="5" name="图片 4">
            <a:extLst>
              <a:ext uri="{FF2B5EF4-FFF2-40B4-BE49-F238E27FC236}">
                <a16:creationId xmlns:a16="http://schemas.microsoft.com/office/drawing/2014/main" id="{21EB78C9-D157-FC3F-0986-94F2ADA877B5}"/>
              </a:ext>
            </a:extLst>
          </p:cNvPr>
          <p:cNvPicPr>
            <a:picLocks noChangeAspect="1"/>
          </p:cNvPicPr>
          <p:nvPr/>
        </p:nvPicPr>
        <p:blipFill>
          <a:blip r:embed="rId4"/>
          <a:stretch>
            <a:fillRect/>
          </a:stretch>
        </p:blipFill>
        <p:spPr>
          <a:xfrm>
            <a:off x="6117772" y="1728845"/>
            <a:ext cx="1991173" cy="1551851"/>
          </a:xfrm>
          <a:prstGeom prst="rect">
            <a:avLst/>
          </a:prstGeom>
        </p:spPr>
      </p:pic>
      <p:pic>
        <p:nvPicPr>
          <p:cNvPr id="6" name="图片 5">
            <a:extLst>
              <a:ext uri="{FF2B5EF4-FFF2-40B4-BE49-F238E27FC236}">
                <a16:creationId xmlns:a16="http://schemas.microsoft.com/office/drawing/2014/main" id="{410BC003-0778-37F0-F655-A87D262B348C}"/>
              </a:ext>
            </a:extLst>
          </p:cNvPr>
          <p:cNvPicPr>
            <a:picLocks noChangeAspect="1"/>
          </p:cNvPicPr>
          <p:nvPr/>
        </p:nvPicPr>
        <p:blipFill>
          <a:blip r:embed="rId5"/>
          <a:stretch>
            <a:fillRect/>
          </a:stretch>
        </p:blipFill>
        <p:spPr>
          <a:xfrm>
            <a:off x="9059073" y="1793677"/>
            <a:ext cx="2012939" cy="1422186"/>
          </a:xfrm>
          <a:prstGeom prst="rect">
            <a:avLst/>
          </a:prstGeom>
        </p:spPr>
      </p:pic>
      <p:pic>
        <p:nvPicPr>
          <p:cNvPr id="9" name="图片 8">
            <a:extLst>
              <a:ext uri="{FF2B5EF4-FFF2-40B4-BE49-F238E27FC236}">
                <a16:creationId xmlns:a16="http://schemas.microsoft.com/office/drawing/2014/main" id="{F8B8D544-3AF2-50DB-C834-C7D9984EA750}"/>
              </a:ext>
            </a:extLst>
          </p:cNvPr>
          <p:cNvPicPr>
            <a:picLocks noChangeAspect="1"/>
          </p:cNvPicPr>
          <p:nvPr/>
        </p:nvPicPr>
        <p:blipFill>
          <a:blip r:embed="rId6"/>
          <a:stretch>
            <a:fillRect/>
          </a:stretch>
        </p:blipFill>
        <p:spPr>
          <a:xfrm>
            <a:off x="977547" y="1706104"/>
            <a:ext cx="1964390" cy="1534095"/>
          </a:xfrm>
          <a:prstGeom prst="rect">
            <a:avLst/>
          </a:prstGeom>
        </p:spPr>
      </p:pic>
      <p:pic>
        <p:nvPicPr>
          <p:cNvPr id="10" name="图片 9">
            <a:extLst>
              <a:ext uri="{FF2B5EF4-FFF2-40B4-BE49-F238E27FC236}">
                <a16:creationId xmlns:a16="http://schemas.microsoft.com/office/drawing/2014/main" id="{36A09253-5350-6D12-8AB5-F47D0559D616}"/>
              </a:ext>
            </a:extLst>
          </p:cNvPr>
          <p:cNvPicPr>
            <a:picLocks noChangeAspect="1"/>
          </p:cNvPicPr>
          <p:nvPr/>
        </p:nvPicPr>
        <p:blipFill>
          <a:blip r:embed="rId7"/>
          <a:stretch>
            <a:fillRect/>
          </a:stretch>
        </p:blipFill>
        <p:spPr>
          <a:xfrm>
            <a:off x="3251869" y="1728845"/>
            <a:ext cx="2144363" cy="1534096"/>
          </a:xfrm>
          <a:prstGeom prst="rect">
            <a:avLst/>
          </a:prstGeom>
        </p:spPr>
      </p:pic>
      <p:pic>
        <p:nvPicPr>
          <p:cNvPr id="11" name="图片 10">
            <a:extLst>
              <a:ext uri="{FF2B5EF4-FFF2-40B4-BE49-F238E27FC236}">
                <a16:creationId xmlns:a16="http://schemas.microsoft.com/office/drawing/2014/main" id="{CBECE84E-6A61-B1BF-EE7A-976764391670}"/>
              </a:ext>
            </a:extLst>
          </p:cNvPr>
          <p:cNvPicPr>
            <a:picLocks noChangeAspect="1"/>
          </p:cNvPicPr>
          <p:nvPr/>
        </p:nvPicPr>
        <p:blipFill>
          <a:blip r:embed="rId8"/>
          <a:stretch>
            <a:fillRect/>
          </a:stretch>
        </p:blipFill>
        <p:spPr>
          <a:xfrm>
            <a:off x="844398" y="4418493"/>
            <a:ext cx="2230688" cy="1742061"/>
          </a:xfrm>
          <a:prstGeom prst="rect">
            <a:avLst/>
          </a:prstGeom>
        </p:spPr>
      </p:pic>
      <p:pic>
        <p:nvPicPr>
          <p:cNvPr id="12" name="图片 11">
            <a:extLst>
              <a:ext uri="{FF2B5EF4-FFF2-40B4-BE49-F238E27FC236}">
                <a16:creationId xmlns:a16="http://schemas.microsoft.com/office/drawing/2014/main" id="{87381262-37F5-BD8F-33A7-6290AF7220DA}"/>
              </a:ext>
            </a:extLst>
          </p:cNvPr>
          <p:cNvPicPr>
            <a:picLocks noChangeAspect="1"/>
          </p:cNvPicPr>
          <p:nvPr/>
        </p:nvPicPr>
        <p:blipFill>
          <a:blip r:embed="rId9"/>
          <a:stretch>
            <a:fillRect/>
          </a:stretch>
        </p:blipFill>
        <p:spPr>
          <a:xfrm>
            <a:off x="3171238" y="4454537"/>
            <a:ext cx="2305624" cy="1628973"/>
          </a:xfrm>
          <a:prstGeom prst="rect">
            <a:avLst/>
          </a:prstGeom>
        </p:spPr>
      </p:pic>
      <p:pic>
        <p:nvPicPr>
          <p:cNvPr id="18" name="图片 17">
            <a:extLst>
              <a:ext uri="{FF2B5EF4-FFF2-40B4-BE49-F238E27FC236}">
                <a16:creationId xmlns:a16="http://schemas.microsoft.com/office/drawing/2014/main" id="{18BBC904-E8D8-B07C-AC47-AEF86B2C953F}"/>
              </a:ext>
            </a:extLst>
          </p:cNvPr>
          <p:cNvPicPr>
            <a:picLocks noChangeAspect="1"/>
          </p:cNvPicPr>
          <p:nvPr/>
        </p:nvPicPr>
        <p:blipFill>
          <a:blip r:embed="rId10"/>
          <a:stretch>
            <a:fillRect/>
          </a:stretch>
        </p:blipFill>
        <p:spPr>
          <a:xfrm>
            <a:off x="6075467" y="4394529"/>
            <a:ext cx="2162720" cy="1688981"/>
          </a:xfrm>
          <a:prstGeom prst="rect">
            <a:avLst/>
          </a:prstGeom>
        </p:spPr>
      </p:pic>
      <p:sp>
        <p:nvSpPr>
          <p:cNvPr id="19" name="文本框 18">
            <a:extLst>
              <a:ext uri="{FF2B5EF4-FFF2-40B4-BE49-F238E27FC236}">
                <a16:creationId xmlns:a16="http://schemas.microsoft.com/office/drawing/2014/main" id="{788A8E38-5DB2-D757-4293-E951BD051DA8}"/>
              </a:ext>
            </a:extLst>
          </p:cNvPr>
          <p:cNvSpPr txBox="1"/>
          <p:nvPr/>
        </p:nvSpPr>
        <p:spPr>
          <a:xfrm>
            <a:off x="6075467" y="4046156"/>
            <a:ext cx="1099981" cy="307777"/>
          </a:xfrm>
          <a:prstGeom prst="rect">
            <a:avLst/>
          </a:prstGeom>
          <a:noFill/>
        </p:spPr>
        <p:txBody>
          <a:bodyPr wrap="none" rtlCol="0">
            <a:spAutoFit/>
          </a:bodyPr>
          <a:lstStyle/>
          <a:p>
            <a:r>
              <a:rPr kumimoji="1" lang="en-US" altLang="zh-CN" sz="1400" dirty="0" err="1"/>
              <a:t>GoogLeNet</a:t>
            </a:r>
            <a:endParaRPr kumimoji="1" lang="en-US" altLang="zh-CN" sz="1400" dirty="0"/>
          </a:p>
        </p:txBody>
      </p:sp>
      <p:pic>
        <p:nvPicPr>
          <p:cNvPr id="20" name="图片 19">
            <a:extLst>
              <a:ext uri="{FF2B5EF4-FFF2-40B4-BE49-F238E27FC236}">
                <a16:creationId xmlns:a16="http://schemas.microsoft.com/office/drawing/2014/main" id="{B16FEC25-4240-0243-615D-F0FE9BB67E6A}"/>
              </a:ext>
            </a:extLst>
          </p:cNvPr>
          <p:cNvPicPr>
            <a:picLocks noChangeAspect="1"/>
          </p:cNvPicPr>
          <p:nvPr/>
        </p:nvPicPr>
        <p:blipFill>
          <a:blip r:embed="rId11"/>
          <a:stretch>
            <a:fillRect/>
          </a:stretch>
        </p:blipFill>
        <p:spPr>
          <a:xfrm>
            <a:off x="8975638" y="4388861"/>
            <a:ext cx="2096376" cy="1540056"/>
          </a:xfrm>
          <a:prstGeom prst="rect">
            <a:avLst/>
          </a:prstGeom>
        </p:spPr>
      </p:pic>
    </p:spTree>
    <p:extLst>
      <p:ext uri="{BB962C8B-B14F-4D97-AF65-F5344CB8AC3E}">
        <p14:creationId xmlns:p14="http://schemas.microsoft.com/office/powerpoint/2010/main" val="3324774402"/>
      </p:ext>
    </p:extLst>
  </p:cSld>
  <p:clrMapOvr>
    <a:masterClrMapping/>
  </p:clrMapOvr>
  <p:transition>
    <p:dissolv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F729D7-3DDA-F992-C0DB-8D803317B95C}"/>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D13A1B66-30B1-BA77-8250-A93EA24C0B7B}"/>
              </a:ext>
            </a:extLst>
          </p:cNvPr>
          <p:cNvSpPr>
            <a:spLocks noGrp="1"/>
          </p:cNvSpPr>
          <p:nvPr>
            <p:ph type="title"/>
          </p:nvPr>
        </p:nvSpPr>
        <p:spPr/>
        <p:txBody>
          <a:bodyPr/>
          <a:lstStyle/>
          <a:p>
            <a:r>
              <a:rPr lang="en-US" altLang="zh-CN" dirty="0"/>
              <a:t>Simulation result</a:t>
            </a:r>
            <a:endParaRPr lang="zh-CN" altLang="en-US" dirty="0"/>
          </a:p>
        </p:txBody>
      </p:sp>
      <p:pic>
        <p:nvPicPr>
          <p:cNvPr id="4" name="Google Shape;64;p1" descr="徽标&#10;&#10;描述已自动生成">
            <a:extLst>
              <a:ext uri="{FF2B5EF4-FFF2-40B4-BE49-F238E27FC236}">
                <a16:creationId xmlns:a16="http://schemas.microsoft.com/office/drawing/2014/main" id="{2B23F261-3661-B18C-D9CD-7339882F0AD4}"/>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32" name="文本框 31">
            <a:extLst>
              <a:ext uri="{FF2B5EF4-FFF2-40B4-BE49-F238E27FC236}">
                <a16:creationId xmlns:a16="http://schemas.microsoft.com/office/drawing/2014/main" id="{C0F90931-4B10-CE00-6CA6-7FF1824C9128}"/>
              </a:ext>
            </a:extLst>
          </p:cNvPr>
          <p:cNvSpPr txBox="1"/>
          <p:nvPr/>
        </p:nvSpPr>
        <p:spPr>
          <a:xfrm>
            <a:off x="807710" y="1239735"/>
            <a:ext cx="9193404" cy="2246769"/>
          </a:xfrm>
          <a:prstGeom prst="rect">
            <a:avLst/>
          </a:prstGeom>
          <a:noFill/>
        </p:spPr>
        <p:txBody>
          <a:bodyPr wrap="square">
            <a:spAutoFit/>
          </a:bodyPr>
          <a:lstStyle/>
          <a:p>
            <a:pPr marL="342900" indent="-342900">
              <a:buAutoNum type="arabicPeriod"/>
            </a:pPr>
            <a:r>
              <a:rPr lang="en-US" altLang="zh-CN" sz="1400" dirty="0">
                <a:cs typeface="Times New Roman" panose="02020603050405020304" pitchFamily="18" charset="0"/>
              </a:rPr>
              <a:t>For deep learning models, using synchronize can perfectly measure time consumption of each step during the training part. </a:t>
            </a:r>
          </a:p>
          <a:p>
            <a:pPr marL="342900" indent="-342900">
              <a:buAutoNum type="arabicPeriod"/>
            </a:pPr>
            <a:r>
              <a:rPr lang="en-US" altLang="zh-CN" sz="1400" dirty="0">
                <a:cs typeface="Times New Roman" panose="02020603050405020304" pitchFamily="18" charset="0"/>
              </a:rPr>
              <a:t>All the data are using average values of 10 rounds simulation, with each round contains 10 epochs. And the average time consumption results of each epoch in different deep learning models are almost the same with a variation less than 1 second. </a:t>
            </a:r>
          </a:p>
          <a:p>
            <a:pPr marL="342900" indent="-342900">
              <a:buAutoNum type="arabicPeriod"/>
            </a:pPr>
            <a:r>
              <a:rPr lang="en-US" altLang="zh-CN" sz="1400" dirty="0">
                <a:cs typeface="Times New Roman" panose="02020603050405020304" pitchFamily="18" charset="0"/>
              </a:rPr>
              <a:t>During the training part, the two most time-consuming parts are the backward and the forward.</a:t>
            </a:r>
          </a:p>
          <a:p>
            <a:pPr marL="342900" indent="-342900">
              <a:buAutoNum type="arabicPeriod"/>
            </a:pPr>
            <a:r>
              <a:rPr lang="en-US" altLang="zh-CN" sz="1400" dirty="0">
                <a:cs typeface="Times New Roman" panose="02020603050405020304" pitchFamily="18" charset="0"/>
              </a:rPr>
              <a:t>The MACs</a:t>
            </a:r>
            <a:r>
              <a:rPr kumimoji="1" lang="en-US" altLang="zh-CN" sz="1400" dirty="0"/>
              <a:t>(Multiply-Accumulate Operations) can be used as a parameter to do the energy consumption prediction of given deep learning model.</a:t>
            </a:r>
          </a:p>
          <a:p>
            <a:pPr marL="342900" indent="-342900">
              <a:buAutoNum type="arabicPeriod"/>
            </a:pPr>
            <a:r>
              <a:rPr kumimoji="1" lang="en-US" altLang="zh-CN" sz="1400" dirty="0"/>
              <a:t>In the table presented in the first slide, the Resnet and VGG have better test accuracy than </a:t>
            </a:r>
            <a:r>
              <a:rPr kumimoji="1" lang="en-US" altLang="zh-CN" sz="1400" dirty="0" err="1"/>
              <a:t>Alexnet</a:t>
            </a:r>
            <a:r>
              <a:rPr kumimoji="1" lang="en-US" altLang="zh-CN" sz="1400" dirty="0"/>
              <a:t> about 2% but consuming over 3 times energy, might be due to the dataset.</a:t>
            </a:r>
          </a:p>
        </p:txBody>
      </p:sp>
      <p:sp>
        <p:nvSpPr>
          <p:cNvPr id="2" name="文本框 1">
            <a:extLst>
              <a:ext uri="{FF2B5EF4-FFF2-40B4-BE49-F238E27FC236}">
                <a16:creationId xmlns:a16="http://schemas.microsoft.com/office/drawing/2014/main" id="{F2298F26-D259-A8E9-D2B6-C67C209BC581}"/>
              </a:ext>
            </a:extLst>
          </p:cNvPr>
          <p:cNvSpPr txBox="1"/>
          <p:nvPr/>
        </p:nvSpPr>
        <p:spPr>
          <a:xfrm>
            <a:off x="807710" y="4133589"/>
            <a:ext cx="4020331" cy="523220"/>
          </a:xfrm>
          <a:prstGeom prst="rect">
            <a:avLst/>
          </a:prstGeom>
          <a:noFill/>
        </p:spPr>
        <p:txBody>
          <a:bodyPr wrap="none" rtlCol="0">
            <a:spAutoFit/>
          </a:bodyPr>
          <a:lstStyle/>
          <a:p>
            <a:r>
              <a:rPr kumimoji="1" lang="en-US" altLang="zh-CN" sz="1400" dirty="0"/>
              <a:t>Next step:</a:t>
            </a:r>
          </a:p>
          <a:p>
            <a:pPr marL="342900" indent="-342900">
              <a:buAutoNum type="arabicPeriod"/>
            </a:pPr>
            <a:r>
              <a:rPr kumimoji="1" lang="en-US" altLang="zh-CN" sz="1400" dirty="0"/>
              <a:t>Try to find different dataset to test the </a:t>
            </a:r>
            <a:r>
              <a:rPr kumimoji="1" lang="en-US" altLang="zh-CN" sz="1400"/>
              <a:t>result.</a:t>
            </a:r>
            <a:endParaRPr kumimoji="1" lang="en-US" altLang="zh-CN" sz="1400" dirty="0"/>
          </a:p>
        </p:txBody>
      </p:sp>
    </p:spTree>
    <p:extLst>
      <p:ext uri="{BB962C8B-B14F-4D97-AF65-F5344CB8AC3E}">
        <p14:creationId xmlns:p14="http://schemas.microsoft.com/office/powerpoint/2010/main" val="1899357220"/>
      </p:ext>
    </p:extLst>
  </p:cSld>
  <p:clrMapOvr>
    <a:masterClrMapping/>
  </p:clrMapOvr>
  <p:transition>
    <p:dissolv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9525" imgH="9525" progId="TCLayout.ActiveDocument.1">
                  <p:embed/>
                </p:oleObj>
              </mc:Choice>
              <mc:Fallback>
                <p:oleObj name="think-cell Slide" r:id="rId5" imgW="9525" imgH="9525" progId="TCLayout.ActiveDocument.1">
                  <p:embed/>
                  <p:pic>
                    <p:nvPicPr>
                      <p:cNvPr id="3" name="对象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矩形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11" name="标题 10"/>
          <p:cNvSpPr>
            <a:spLocks noGrp="1"/>
          </p:cNvSpPr>
          <p:nvPr>
            <p:ph type="title"/>
          </p:nvPr>
        </p:nvSpPr>
        <p:spPr>
          <a:xfrm>
            <a:off x="-1427816" y="2420471"/>
            <a:ext cx="10849447" cy="1828800"/>
          </a:xfrm>
        </p:spPr>
        <p:txBody>
          <a:bodyPr>
            <a:normAutofit/>
          </a:bodyPr>
          <a:lstStyle/>
          <a:p>
            <a:pPr algn="ctr"/>
            <a:r>
              <a:rPr lang="en-US" altLang="zh-CN" sz="7200">
                <a:ln w="9525" cmpd="sng">
                  <a:solidFill>
                    <a:schemeClr val="accent1"/>
                  </a:solidFill>
                  <a:prstDash val="solid"/>
                </a:ln>
                <a:solidFill>
                  <a:srgbClr val="70AD47">
                    <a:tint val="1000"/>
                  </a:srgbClr>
                </a:solidFill>
                <a:effectLst>
                  <a:glow rad="38100">
                    <a:schemeClr val="accent1">
                      <a:alpha val="40000"/>
                    </a:schemeClr>
                  </a:glow>
                </a:effectLst>
              </a:rPr>
              <a:t>Thanks </a:t>
            </a:r>
            <a:br>
              <a:rPr lang="en-US" altLang="zh-CN"/>
            </a:br>
            <a:endParaRPr lang="zh-CN" altLang="en-US"/>
          </a:p>
        </p:txBody>
      </p:sp>
      <p:pic>
        <p:nvPicPr>
          <p:cNvPr id="4" name="图片 3"/>
          <p:cNvPicPr>
            <a:picLocks noChangeAspect="1"/>
          </p:cNvPicPr>
          <p:nvPr/>
        </p:nvPicPr>
        <p:blipFill>
          <a:blip r:embed="rId7"/>
          <a:stretch>
            <a:fillRect/>
          </a:stretch>
        </p:blipFill>
        <p:spPr>
          <a:xfrm>
            <a:off x="-6350" y="5506720"/>
            <a:ext cx="3027680" cy="1332230"/>
          </a:xfrm>
          <a:prstGeom prst="rect">
            <a:avLst/>
          </a:prstGeom>
        </p:spPr>
      </p:pic>
      <p:pic>
        <p:nvPicPr>
          <p:cNvPr id="7" name="图片 6"/>
          <p:cNvPicPr>
            <a:picLocks noChangeAspect="1"/>
          </p:cNvPicPr>
          <p:nvPr/>
        </p:nvPicPr>
        <p:blipFill>
          <a:blip r:embed="rId8"/>
          <a:stretch>
            <a:fillRect/>
          </a:stretch>
        </p:blipFill>
        <p:spPr>
          <a:xfrm>
            <a:off x="1378585" y="6118225"/>
            <a:ext cx="1642745" cy="720725"/>
          </a:xfrm>
          <a:prstGeom prst="rect">
            <a:avLst/>
          </a:prstGeom>
        </p:spPr>
      </p:pic>
      <p:pic>
        <p:nvPicPr>
          <p:cNvPr id="5" name="Google Shape;64;p1">
            <a:extLst>
              <a:ext uri="{FF2B5EF4-FFF2-40B4-BE49-F238E27FC236}">
                <a16:creationId xmlns:a16="http://schemas.microsoft.com/office/drawing/2014/main" id="{68A7974F-53A5-F705-5B68-4ADA8818173A}"/>
              </a:ext>
            </a:extLst>
          </p:cNvPr>
          <p:cNvPicPr preferRelativeResize="0"/>
          <p:nvPr/>
        </p:nvPicPr>
        <p:blipFill rotWithShape="1">
          <a:blip r:embed="rId9">
            <a:alphaModFix/>
          </a:blip>
          <a:srcRect/>
          <a:stretch/>
        </p:blipFill>
        <p:spPr>
          <a:xfrm>
            <a:off x="-6351" y="5292436"/>
            <a:ext cx="3322575" cy="1565564"/>
          </a:xfrm>
          <a:prstGeom prst="rect">
            <a:avLst/>
          </a:prstGeom>
          <a:noFill/>
          <a:ln>
            <a:noFill/>
          </a:ln>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1Smkff3fSzGMOuItfjj3Fw"/>
</p:tagLst>
</file>

<file path=ppt/theme/theme1.xml><?xml version="1.0" encoding="utf-8"?>
<a:theme xmlns:a="http://schemas.openxmlformats.org/drawingml/2006/main" name="主题5">
  <a:themeElements>
    <a:clrScheme name="房利美">
      <a:dk1>
        <a:srgbClr val="000000"/>
      </a:dk1>
      <a:lt1>
        <a:srgbClr val="FFFFFF"/>
      </a:lt1>
      <a:dk2>
        <a:srgbClr val="768395"/>
      </a:dk2>
      <a:lt2>
        <a:srgbClr val="F0F0F0"/>
      </a:lt2>
      <a:accent1>
        <a:srgbClr val="106EB3"/>
      </a:accent1>
      <a:accent2>
        <a:srgbClr val="1D296E"/>
      </a:accent2>
      <a:accent3>
        <a:srgbClr val="7B99AB"/>
      </a:accent3>
      <a:accent4>
        <a:srgbClr val="BC965E"/>
      </a:accent4>
      <a:accent5>
        <a:srgbClr val="5F5042"/>
      </a:accent5>
      <a:accent6>
        <a:srgbClr val="898A8A"/>
      </a:accent6>
      <a:hlink>
        <a:srgbClr val="4472C4"/>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主题5">
  <a:themeElements>
    <a:clrScheme name="房利美">
      <a:dk1>
        <a:srgbClr val="000000"/>
      </a:dk1>
      <a:lt1>
        <a:srgbClr val="FFFFFF"/>
      </a:lt1>
      <a:dk2>
        <a:srgbClr val="768395"/>
      </a:dk2>
      <a:lt2>
        <a:srgbClr val="F0F0F0"/>
      </a:lt2>
      <a:accent1>
        <a:srgbClr val="106EB3"/>
      </a:accent1>
      <a:accent2>
        <a:srgbClr val="1D296E"/>
      </a:accent2>
      <a:accent3>
        <a:srgbClr val="7B99AB"/>
      </a:accent3>
      <a:accent4>
        <a:srgbClr val="BC965E"/>
      </a:accent4>
      <a:accent5>
        <a:srgbClr val="5F5042"/>
      </a:accent5>
      <a:accent6>
        <a:srgbClr val="898A8A"/>
      </a:accent6>
      <a:hlink>
        <a:srgbClr val="4472C4"/>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5"/>
    </a:dk2>
    <a:lt2>
      <a:srgbClr val="F0F0F0"/>
    </a:lt2>
    <a:accent1>
      <a:srgbClr val="106EB3"/>
    </a:accent1>
    <a:accent2>
      <a:srgbClr val="1D296E"/>
    </a:accent2>
    <a:accent3>
      <a:srgbClr val="7B99AB"/>
    </a:accent3>
    <a:accent4>
      <a:srgbClr val="BC965E"/>
    </a:accent4>
    <a:accent5>
      <a:srgbClr val="5F5042"/>
    </a:accent5>
    <a:accent6>
      <a:srgbClr val="898A8A"/>
    </a:accent6>
    <a:hlink>
      <a:srgbClr val="4472C4"/>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5"/>
    </a:dk2>
    <a:lt2>
      <a:srgbClr val="F0F0F0"/>
    </a:lt2>
    <a:accent1>
      <a:srgbClr val="106EB3"/>
    </a:accent1>
    <a:accent2>
      <a:srgbClr val="1D296E"/>
    </a:accent2>
    <a:accent3>
      <a:srgbClr val="7B99AB"/>
    </a:accent3>
    <a:accent4>
      <a:srgbClr val="BC965E"/>
    </a:accent4>
    <a:accent5>
      <a:srgbClr val="5F5042"/>
    </a:accent5>
    <a:accent6>
      <a:srgbClr val="898A8A"/>
    </a:accent6>
    <a:hlink>
      <a:srgbClr val="4472C4"/>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iSlide</Template>
  <TotalTime>4379</TotalTime>
  <Words>373</Words>
  <Application>Microsoft Macintosh PowerPoint</Application>
  <PresentationFormat>宽屏</PresentationFormat>
  <Paragraphs>78</Paragraphs>
  <Slides>6</Slides>
  <Notes>5</Notes>
  <HiddenSlides>0</HiddenSlides>
  <MMClips>0</MMClips>
  <ScaleCrop>false</ScaleCrop>
  <HeadingPairs>
    <vt:vector size="8" baseType="variant">
      <vt:variant>
        <vt:lpstr>已用的字体</vt:lpstr>
      </vt:variant>
      <vt:variant>
        <vt:i4>3</vt:i4>
      </vt:variant>
      <vt:variant>
        <vt:lpstr>主题</vt:lpstr>
      </vt:variant>
      <vt:variant>
        <vt:i4>2</vt:i4>
      </vt:variant>
      <vt:variant>
        <vt:lpstr>嵌入 OLE 服务器</vt:lpstr>
      </vt:variant>
      <vt:variant>
        <vt:i4>1</vt:i4>
      </vt:variant>
      <vt:variant>
        <vt:lpstr>幻灯片标题</vt:lpstr>
      </vt:variant>
      <vt:variant>
        <vt:i4>6</vt:i4>
      </vt:variant>
    </vt:vector>
  </HeadingPairs>
  <TitlesOfParts>
    <vt:vector size="12" baseType="lpstr">
      <vt:lpstr>Arial</vt:lpstr>
      <vt:lpstr>Calibri</vt:lpstr>
      <vt:lpstr>Times New Roman</vt:lpstr>
      <vt:lpstr>主题5</vt:lpstr>
      <vt:lpstr>主题5</vt:lpstr>
      <vt:lpstr>think-cell Slide</vt:lpstr>
      <vt:lpstr>Analysis of the energy sustainability of Machine Learning algorithms</vt:lpstr>
      <vt:lpstr>Analytical model to calculate the power consumption</vt:lpstr>
      <vt:lpstr>Time consumption of each part of simulation</vt:lpstr>
      <vt:lpstr>Average time &amp; energy consumption, train &amp; test acc</vt:lpstr>
      <vt:lpstr>Simulation result</vt:lpstr>
      <vt:lpstr>Thanks  </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YIN JUN</cp:lastModifiedBy>
  <cp:revision>107</cp:revision>
  <cp:lastPrinted>2018-09-29T16:00:00Z</cp:lastPrinted>
  <dcterms:created xsi:type="dcterms:W3CDTF">2018-09-29T16:00:00Z</dcterms:created>
  <dcterms:modified xsi:type="dcterms:W3CDTF">2024-02-02T14:27: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y fmtid="{D5CDD505-2E9C-101B-9397-08002B2CF9AE}" pid="3" name="KSOProductBuildVer">
    <vt:lpwstr>2052-10.1.0.7520</vt:lpwstr>
  </property>
</Properties>
</file>